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3" r:id="rId3"/>
    <p:sldMasterId id="2147483685" r:id="rId4"/>
    <p:sldMasterId id="2147483697" r:id="rId5"/>
    <p:sldMasterId id="2147483709" r:id="rId6"/>
    <p:sldMasterId id="2147483721" r:id="rId7"/>
    <p:sldMasterId id="2147483733" r:id="rId8"/>
    <p:sldMasterId id="2147483745" r:id="rId9"/>
    <p:sldMasterId id="2147483757" r:id="rId10"/>
    <p:sldMasterId id="2147483776" r:id="rId11"/>
  </p:sldMasterIdLst>
  <p:notesMasterIdLst>
    <p:notesMasterId r:id="rId26"/>
  </p:notesMasterIdLst>
  <p:sldIdLst>
    <p:sldId id="256" r:id="rId12"/>
    <p:sldId id="279" r:id="rId13"/>
    <p:sldId id="584" r:id="rId14"/>
    <p:sldId id="589" r:id="rId15"/>
    <p:sldId id="612" r:id="rId16"/>
    <p:sldId id="599" r:id="rId17"/>
    <p:sldId id="587" r:id="rId18"/>
    <p:sldId id="583" r:id="rId19"/>
    <p:sldId id="614" r:id="rId20"/>
    <p:sldId id="574" r:id="rId21"/>
    <p:sldId id="613" r:id="rId22"/>
    <p:sldId id="615" r:id="rId23"/>
    <p:sldId id="616" r:id="rId24"/>
    <p:sldId id="617" r:id="rId25"/>
  </p:sldIdLst>
  <p:sldSz cx="9144000" cy="5143500" type="screen16x9"/>
  <p:notesSz cx="6858000" cy="9144000"/>
  <p:defaultTextStyle>
    <a:defPPr>
      <a:defRPr lang="zh-CN"/>
    </a:defPPr>
    <a:lvl1pPr algn="l" defTabSz="685800" rtl="0" fontAlgn="base">
      <a:spcBef>
        <a:spcPct val="0"/>
      </a:spcBef>
      <a:spcAft>
        <a:spcPct val="0"/>
      </a:spcAft>
      <a:buFont typeface="Arial" panose="020B0604020202020204" pitchFamily="34" charset="0"/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342900" indent="114300" algn="l" defTabSz="685800" rtl="0" fontAlgn="base">
      <a:spcBef>
        <a:spcPct val="0"/>
      </a:spcBef>
      <a:spcAft>
        <a:spcPct val="0"/>
      </a:spcAft>
      <a:buFont typeface="Arial" panose="020B0604020202020204" pitchFamily="34" charset="0"/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685800" indent="228600" algn="l" defTabSz="685800" rtl="0" fontAlgn="base">
      <a:spcBef>
        <a:spcPct val="0"/>
      </a:spcBef>
      <a:spcAft>
        <a:spcPct val="0"/>
      </a:spcAft>
      <a:buFont typeface="Arial" panose="020B0604020202020204" pitchFamily="34" charset="0"/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028700" indent="342900" algn="l" defTabSz="685800" rtl="0" fontAlgn="base">
      <a:spcBef>
        <a:spcPct val="0"/>
      </a:spcBef>
      <a:spcAft>
        <a:spcPct val="0"/>
      </a:spcAft>
      <a:buFont typeface="Arial" panose="020B0604020202020204" pitchFamily="34" charset="0"/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371600" indent="457200" algn="l" defTabSz="685800" rtl="0" fontAlgn="base">
      <a:spcBef>
        <a:spcPct val="0"/>
      </a:spcBef>
      <a:spcAft>
        <a:spcPct val="0"/>
      </a:spcAft>
      <a:buFont typeface="Arial" panose="020B0604020202020204" pitchFamily="34" charset="0"/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">
          <p15:clr>
            <a:srgbClr val="A4A3A4"/>
          </p15:clr>
        </p15:guide>
        <p15:guide id="2" orient="horz" pos="893">
          <p15:clr>
            <a:srgbClr val="A4A3A4"/>
          </p15:clr>
        </p15:guide>
        <p15:guide id="3" orient="horz" pos="1989">
          <p15:clr>
            <a:srgbClr val="A4A3A4"/>
          </p15:clr>
        </p15:guide>
        <p15:guide id="4" orient="horz" pos="3097">
          <p15:clr>
            <a:srgbClr val="A4A3A4"/>
          </p15:clr>
        </p15:guide>
        <p15:guide id="5" orient="horz" pos="1175">
          <p15:clr>
            <a:srgbClr val="A4A3A4"/>
          </p15:clr>
        </p15:guide>
        <p15:guide id="6" orient="horz" pos="693">
          <p15:clr>
            <a:srgbClr val="A4A3A4"/>
          </p15:clr>
        </p15:guide>
        <p15:guide id="7" pos="2880">
          <p15:clr>
            <a:srgbClr val="A4A3A4"/>
          </p15:clr>
        </p15:guide>
        <p15:guide id="8" pos="245">
          <p15:clr>
            <a:srgbClr val="A4A3A4"/>
          </p15:clr>
        </p15:guide>
        <p15:guide id="9" pos="893">
          <p15:clr>
            <a:srgbClr val="A4A3A4"/>
          </p15:clr>
        </p15:guide>
        <p15:guide id="10" pos="5514">
          <p15:clr>
            <a:srgbClr val="A4A3A4"/>
          </p15:clr>
        </p15:guide>
        <p15:guide id="11" pos="5299">
          <p15:clr>
            <a:srgbClr val="A4A3A4"/>
          </p15:clr>
        </p15:guide>
        <p15:guide id="12" pos="4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92" autoAdjust="0"/>
    <p:restoredTop sz="98608" autoAdjust="0"/>
  </p:normalViewPr>
  <p:slideViewPr>
    <p:cSldViewPr>
      <p:cViewPr varScale="1">
        <p:scale>
          <a:sx n="121" d="100"/>
          <a:sy n="121" d="100"/>
        </p:scale>
        <p:origin x="330" y="108"/>
      </p:cViewPr>
      <p:guideLst>
        <p:guide orient="horz" pos="108"/>
        <p:guide orient="horz" pos="893"/>
        <p:guide orient="horz" pos="1989"/>
        <p:guide orient="horz" pos="3097"/>
        <p:guide orient="horz" pos="1175"/>
        <p:guide orient="horz" pos="693"/>
        <p:guide pos="2880"/>
        <p:guide pos="245"/>
        <p:guide pos="893"/>
        <p:guide pos="5514"/>
        <p:guide pos="5299"/>
        <p:guide pos="4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940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wmf"/><Relationship Id="rId1" Type="http://schemas.openxmlformats.org/officeDocument/2006/relationships/image" Target="../media/image23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image" Target="../media/image26.wmf"/><Relationship Id="rId4" Type="http://schemas.openxmlformats.org/officeDocument/2006/relationships/image" Target="../media/image2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Header Placeholder 1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TechEd2012</a:t>
            </a:r>
            <a:endParaRPr lang="en-US" dirty="0"/>
          </a:p>
        </p:txBody>
      </p:sp>
      <p:sp>
        <p:nvSpPr>
          <p:cNvPr id="10243" name="Date Placeholder 2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algn="r">
              <a:defRPr/>
            </a:lvl1pPr>
          </a:lstStyle>
          <a:p>
            <a:pPr>
              <a:defRPr/>
            </a:pPr>
            <a:fld id="{60AF785E-6A80-4609-8162-A13F46C0AD67}" type="datetime1">
              <a:rPr lang="en-US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33796" name="Slide Image Placeholder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12700">
            <a:noFill/>
            <a:bevel/>
          </a:ln>
        </p:spPr>
      </p:sp>
      <p:sp>
        <p:nvSpPr>
          <p:cNvPr id="10245" name="Notes Placeholder 4"/>
          <p:cNvSpPr>
            <a:spLocks noGrp="1" noRot="1" noChangeAspect="1" noChangeArrowheads="1"/>
          </p:cNvSpPr>
          <p:nvPr/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12700" cmpd="sng">
            <a:noFill/>
            <a:bevel/>
          </a:ln>
        </p:spPr>
        <p:txBody>
          <a:bodyPr anchor="ctr"/>
          <a:lstStyle/>
          <a:p>
            <a:pPr defTabSz="0" eaLnBrk="0" hangingPunct="0">
              <a:spcBef>
                <a:spcPct val="30000"/>
              </a:spcBef>
              <a:buFontTx/>
              <a:buNone/>
              <a:defRPr/>
            </a:pPr>
            <a:r>
              <a:rPr lang="zh-CN" altLang="zh-CN" sz="1200" dirty="0" smtClean="0"/>
              <a:t>ClicktoeditMastertextstyles</a:t>
            </a:r>
            <a:endParaRPr lang="zh-CN" altLang="zh-CN" sz="1200" dirty="0"/>
          </a:p>
          <a:p>
            <a:pPr defTabSz="0" eaLnBrk="0" hangingPunct="0">
              <a:spcBef>
                <a:spcPct val="30000"/>
              </a:spcBef>
              <a:buFontTx/>
              <a:buNone/>
              <a:defRPr/>
            </a:pPr>
            <a:r>
              <a:rPr lang="zh-CN" altLang="zh-CN" sz="1200" dirty="0" smtClean="0"/>
              <a:t>Secondlevel</a:t>
            </a:r>
            <a:endParaRPr lang="zh-CN" altLang="zh-CN" sz="1200" dirty="0"/>
          </a:p>
          <a:p>
            <a:pPr defTabSz="0" eaLnBrk="0" hangingPunct="0">
              <a:spcBef>
                <a:spcPct val="30000"/>
              </a:spcBef>
              <a:buFontTx/>
              <a:buNone/>
              <a:defRPr/>
            </a:pPr>
            <a:r>
              <a:rPr lang="zh-CN" altLang="zh-CN" sz="1200" dirty="0" smtClean="0"/>
              <a:t>Thirdlevel</a:t>
            </a:r>
            <a:endParaRPr lang="zh-CN" altLang="zh-CN" sz="1200" dirty="0"/>
          </a:p>
          <a:p>
            <a:pPr defTabSz="0" eaLnBrk="0" hangingPunct="0">
              <a:spcBef>
                <a:spcPct val="30000"/>
              </a:spcBef>
              <a:buFontTx/>
              <a:buNone/>
              <a:defRPr/>
            </a:pPr>
            <a:r>
              <a:rPr lang="zh-CN" altLang="zh-CN" sz="1200" dirty="0" smtClean="0"/>
              <a:t>Fourthlevel</a:t>
            </a:r>
            <a:endParaRPr lang="zh-CN" altLang="zh-CN" sz="1200" dirty="0"/>
          </a:p>
          <a:p>
            <a:pPr defTabSz="0" eaLnBrk="0" hangingPunct="0">
              <a:spcBef>
                <a:spcPct val="30000"/>
              </a:spcBef>
              <a:buFontTx/>
              <a:buNone/>
              <a:defRPr/>
            </a:pPr>
            <a:r>
              <a:rPr lang="zh-CN" altLang="zh-CN" sz="1200" dirty="0" smtClean="0"/>
              <a:t>Fifthlevel</a:t>
            </a:r>
            <a:endParaRPr lang="zh-CN" altLang="zh-CN" sz="1200" dirty="0"/>
          </a:p>
        </p:txBody>
      </p:sp>
      <p:sp>
        <p:nvSpPr>
          <p:cNvPr id="10246" name="Footer Placeholder 5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61722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>
              <a:defRPr sz="500"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2012MicrosoftCorporation.Allrightsreserved.Microsoft,Windows,WindowsVistaandotherproductnamesareormayberegisteredtrademarksand/ortrademarksintheU.S.and/orothercountries</a:t>
            </a:r>
            <a:r>
              <a:rPr lang="en-US" dirty="0"/>
              <a:t>.</a:t>
            </a:r>
            <a:endParaRPr lang="zh-CN" altLang="en-US" dirty="0"/>
          </a:p>
          <a:p>
            <a:pPr>
              <a:defRPr/>
            </a:pPr>
            <a:r>
              <a:rPr lang="en-US" dirty="0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dirty="0"/>
              <a:t/>
            </a:r>
            <a:br>
              <a:rPr lang="zh-CN" altLang="en-US" dirty="0"/>
            </a:br>
            <a:r>
              <a:rPr lang="en-US" dirty="0" smtClean="0"/>
              <a:t>MICROSOFTMAKESNOWARRANTIES,EXPRESS,IMPLIEDORSTATUTORY,ASTOTHEINFORMATIONINTHISPRESENTATION</a:t>
            </a:r>
            <a:r>
              <a:rPr lang="en-US" dirty="0"/>
              <a:t>.</a:t>
            </a:r>
            <a:endParaRPr lang="zh-CN" altLang="en-US" dirty="0"/>
          </a:p>
        </p:txBody>
      </p:sp>
      <p:sp>
        <p:nvSpPr>
          <p:cNvPr id="10247" name="Slide Number Placeholder 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72200" y="8685213"/>
            <a:ext cx="684213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algn="r">
              <a:defRPr/>
            </a:lvl1pPr>
          </a:lstStyle>
          <a:p>
            <a:pPr>
              <a:defRPr/>
            </a:pPr>
            <a:fld id="{0650608D-DC9C-4308-9582-3906CA3518CF}" type="slidenum">
              <a:rPr lang="en-US"/>
              <a:t>‹#›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598682"/>
      </p:ext>
    </p:extLst>
  </p:cSld>
  <p:clrMap bg1="dk2" tx1="lt1" bg2="dk1" tx2="lt2" accent1="accent1" accent2="accent2" accent3="accent3" accent4="accent4" accent5="accent5" accent6="accent6" hlink="hlink" folHlink="folHlink"/>
  <p:hf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dirty="0" smtClean="0"/>
          </a:p>
          <a:p>
            <a:pPr>
              <a:defRPr/>
            </a:pPr>
            <a:r>
              <a:rPr lang="en-US" dirty="0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dirty="0" smtClean="0"/>
              <a:t/>
            </a:r>
            <a:br>
              <a:rPr lang="zh-CN" altLang="en-US" dirty="0" smtClean="0"/>
            </a:br>
            <a:r>
              <a:rPr lang="en-US" dirty="0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0933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0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745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1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00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2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0748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3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0346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14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897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381000" y="684213"/>
            <a:ext cx="6096000" cy="3430587"/>
          </a:xfrm>
        </p:spPr>
      </p:sp>
      <p:sp>
        <p:nvSpPr>
          <p:cNvPr id="34819" name="Notes Placeholder 2"/>
          <p:cNvSpPr>
            <a:spLocks noGrp="1" noRot="1" noChangeAspect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500188"/>
          </a:xfrm>
          <a:prstGeom prst="rect">
            <a:avLst/>
          </a:prstGeom>
          <a:noFill/>
          <a:ln>
            <a:miter lim="800000"/>
          </a:ln>
        </p:spPr>
        <p:txBody>
          <a:bodyPr/>
          <a:lstStyle/>
          <a:p>
            <a:pPr marL="285750" indent="-285750">
              <a:buFontTx/>
              <a:buChar char="•"/>
            </a:pPr>
            <a:r>
              <a:rPr lang="zh-CN" altLang="en-US" smtClean="0"/>
              <a:t>首先，其次简要，最后使用</a:t>
            </a:r>
            <a:endParaRPr lang="en-US" dirty="0" smtClean="0"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84984472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4602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4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10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5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6133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6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423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7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946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9107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echEd2012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60AF785E-6A80-4609-8162-A13F46C0AD67}" type="datetime1">
              <a:rPr lang="en-US" smtClean="0"/>
              <a:t>1/17/2019</a:t>
            </a:fld>
            <a:endParaRPr lang="en-US" sz="1200" dirty="0">
              <a:latin typeface="Segoe UI" panose="020B0502040204020203" pitchFamily="34" charset="0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2012MicrosoftCorporation.Allrightsreserved.Microsoft,Windows,WindowsVistaandotherproductnamesareormayberegisteredtrademarksand/ortrademarksintheU.S.and/orothercountries.</a:t>
            </a:r>
            <a:endParaRPr lang="zh-CN" altLang="en-US" smtClean="0"/>
          </a:p>
          <a:p>
            <a:pPr>
              <a:defRPr/>
            </a:pPr>
            <a:r>
              <a:rPr lang="en-US" smtClean="0"/>
              <a:t>TheinformationhereinisforinformationalpurposesonlyandrepresentsthecurrentviewofMicrosoftCorporationasofthedateofthispresentation.BecauseMicrosoftmustrespondtochangingmarketconditions,itshouldnotbeinterpretedtobeacommitmentonthepartofMicrosoft,andMicrosoftcannotguaranteetheaccuracyofanyinformationprovidedafterthedateofthispresentation.</a:t>
            </a:r>
            <a:r>
              <a:rPr lang="zh-CN" altLang="en-US" smtClean="0"/>
              <a:t/>
            </a:r>
            <a:br>
              <a:rPr lang="zh-CN" altLang="en-US" smtClean="0"/>
            </a:br>
            <a:r>
              <a:rPr lang="en-US" smtClean="0"/>
              <a:t>MICROSOFTMAKESNOWARRANTIES,EXPRESS,IMPLIEDORSTATUTORY,ASTOTHEINFORMATIONINTHISPRESENTATION.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650608D-DC9C-4308-9582-3906CA3518CF}" type="slidenum">
              <a:rPr lang="en-US" smtClean="0"/>
              <a:t>9</a:t>
            </a:fld>
            <a:endParaRPr lang="en-US" sz="12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778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.pn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Fuschia Tile"/>
          <p:cNvGrpSpPr/>
          <p:nvPr userDrawn="1"/>
        </p:nvGrpSpPr>
        <p:grpSpPr>
          <a:xfrm>
            <a:off x="762580" y="2388950"/>
            <a:ext cx="994669" cy="99441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5" name="Orange Tile"/>
          <p:cNvGrpSpPr/>
          <p:nvPr userDrawn="1"/>
        </p:nvGrpSpPr>
        <p:grpSpPr>
          <a:xfrm>
            <a:off x="1886044" y="2388950"/>
            <a:ext cx="994669" cy="99441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6" name="Teal Tile"/>
          <p:cNvGrpSpPr/>
          <p:nvPr userDrawn="1"/>
        </p:nvGrpSpPr>
        <p:grpSpPr>
          <a:xfrm>
            <a:off x="762580" y="3512121"/>
            <a:ext cx="994669" cy="99441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7" name="Green Tile"/>
          <p:cNvGrpSpPr/>
          <p:nvPr userDrawn="1"/>
        </p:nvGrpSpPr>
        <p:grpSpPr>
          <a:xfrm>
            <a:off x="1886044" y="3512121"/>
            <a:ext cx="994669" cy="99441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06" y="2423981"/>
            <a:ext cx="5040038" cy="924348"/>
          </a:xfrm>
        </p:spPr>
        <p:txBody>
          <a:bodyPr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6907" y="3771902"/>
            <a:ext cx="5154369" cy="347441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1" y="4507707"/>
            <a:ext cx="9144001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Demo Tile"/>
          <p:cNvGrpSpPr/>
          <p:nvPr userDrawn="1"/>
        </p:nvGrpSpPr>
        <p:grpSpPr>
          <a:xfrm>
            <a:off x="763409" y="2390914"/>
            <a:ext cx="2120991" cy="2120439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een Tile"/>
          <p:cNvGrpSpPr/>
          <p:nvPr userDrawn="1"/>
        </p:nvGrpSpPr>
        <p:grpSpPr>
          <a:xfrm>
            <a:off x="762091" y="2390353"/>
            <a:ext cx="2120991" cy="2120439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ner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Blue Tile"/>
          <p:cNvGrpSpPr/>
          <p:nvPr userDrawn="1"/>
        </p:nvGrpSpPr>
        <p:grpSpPr>
          <a:xfrm>
            <a:off x="762091" y="2392295"/>
            <a:ext cx="2120991" cy="2120439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Purple Tile"/>
          <p:cNvGrpSpPr/>
          <p:nvPr userDrawn="1"/>
        </p:nvGrpSpPr>
        <p:grpSpPr>
          <a:xfrm>
            <a:off x="763409" y="2390353"/>
            <a:ext cx="2120991" cy="2120439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nouncement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Orange Tile"/>
          <p:cNvGrpSpPr/>
          <p:nvPr userDrawn="1"/>
        </p:nvGrpSpPr>
        <p:grpSpPr>
          <a:xfrm>
            <a:off x="762091" y="2390612"/>
            <a:ext cx="2120991" cy="2120439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c.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Teal Tile"/>
          <p:cNvGrpSpPr/>
          <p:nvPr userDrawn="1"/>
        </p:nvGrpSpPr>
        <p:grpSpPr>
          <a:xfrm>
            <a:off x="762091" y="2390353"/>
            <a:ext cx="2120991" cy="2120439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171451"/>
            <a:ext cx="8363938" cy="45704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085851"/>
            <a:ext cx="8363938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6" y="1085851"/>
            <a:ext cx="8363938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085851"/>
            <a:ext cx="4115872" cy="1323439"/>
          </a:xfrm>
        </p:spPr>
        <p:txBody>
          <a:bodyPr/>
          <a:lstStyle>
            <a:lvl1pPr marL="255270" indent="-255270">
              <a:lnSpc>
                <a:spcPct val="90000"/>
              </a:lnSpc>
              <a:defRPr sz="2100"/>
            </a:lvl1pPr>
            <a:lvl2pPr marL="504825" indent="-243840">
              <a:lnSpc>
                <a:spcPct val="90000"/>
              </a:lnSpc>
              <a:defRPr sz="1800"/>
            </a:lvl2pPr>
            <a:lvl3pPr marL="715645" indent="-216535">
              <a:lnSpc>
                <a:spcPct val="90000"/>
              </a:lnSpc>
              <a:defRPr sz="1500"/>
            </a:lvl3pPr>
            <a:lvl4pPr marL="920750" indent="-205105">
              <a:lnSpc>
                <a:spcPct val="90000"/>
              </a:lnSpc>
              <a:defRPr sz="1400"/>
            </a:lvl4pPr>
            <a:lvl5pPr marL="1137285" indent="-210185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1" y="1085851"/>
            <a:ext cx="4115872" cy="1323439"/>
          </a:xfrm>
        </p:spPr>
        <p:txBody>
          <a:bodyPr/>
          <a:lstStyle>
            <a:lvl1pPr marL="260985" indent="-260985">
              <a:lnSpc>
                <a:spcPct val="90000"/>
              </a:lnSpc>
              <a:defRPr sz="2100"/>
            </a:lvl1pPr>
            <a:lvl2pPr marL="504825" indent="-255270">
              <a:lnSpc>
                <a:spcPct val="90000"/>
              </a:lnSpc>
              <a:defRPr sz="1800"/>
            </a:lvl2pPr>
            <a:lvl3pPr marL="721360" indent="-227330">
              <a:lnSpc>
                <a:spcPct val="90000"/>
              </a:lnSpc>
              <a:defRPr sz="1500"/>
            </a:lvl3pPr>
            <a:lvl4pPr marL="920750" indent="-199390">
              <a:lnSpc>
                <a:spcPct val="90000"/>
              </a:lnSpc>
              <a:defRPr sz="1400"/>
            </a:lvl4pPr>
            <a:lvl5pPr marL="1137285" indent="-205105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055204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1600201"/>
            <a:ext cx="4114800" cy="1166473"/>
          </a:xfrm>
        </p:spPr>
        <p:txBody>
          <a:bodyPr/>
          <a:lstStyle>
            <a:lvl1pPr marL="211455" indent="-211455">
              <a:defRPr sz="1700"/>
            </a:lvl1pPr>
            <a:lvl2pPr marL="421640" indent="-199390">
              <a:defRPr sz="1500"/>
            </a:lvl2pPr>
            <a:lvl3pPr marL="610235" indent="-182880">
              <a:defRPr sz="1400"/>
            </a:lvl3pPr>
            <a:lvl4pPr marL="788035" indent="-171450">
              <a:defRPr sz="1300"/>
            </a:lvl4pPr>
            <a:lvl5pPr marL="959485" indent="-154940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1" y="1055204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1" y="1600201"/>
            <a:ext cx="4115872" cy="1183964"/>
          </a:xfrm>
        </p:spPr>
        <p:txBody>
          <a:bodyPr/>
          <a:lstStyle>
            <a:lvl1pPr marL="222250" indent="-222250">
              <a:defRPr sz="1700"/>
            </a:lvl1pPr>
            <a:lvl2pPr marL="427355" indent="-205105">
              <a:defRPr sz="1500"/>
            </a:lvl2pPr>
            <a:lvl3pPr marL="615950" indent="-183515">
              <a:defRPr sz="1400"/>
            </a:lvl3pPr>
            <a:lvl4pPr marL="788035" indent="-177800">
              <a:defRPr sz="1300"/>
            </a:lvl4pPr>
            <a:lvl5pPr marL="959485" indent="-165735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ALKIN - Prints in GRAYSCAL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S_log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085851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085851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4679157"/>
            <a:ext cx="9144001" cy="464344"/>
          </a:xfrm>
          <a:solidFill>
            <a:srgbClr val="FFFF99"/>
          </a:solidFill>
        </p:spPr>
        <p:txBody>
          <a:bodyPr wrap="square" lIns="114306" tIns="57152" rIns="114306" bIns="57152" anchor="b" anchorCtr="0">
            <a:noAutofit/>
          </a:bodyPr>
          <a:lstStyle>
            <a:lvl1pPr algn="r">
              <a:buFont typeface="Arial" panose="020B0604020202020204" pitchFamily="34" charset="0"/>
              <a:buNone/>
              <a:defRPr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171452"/>
            <a:ext cx="8363938" cy="4570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085850"/>
            <a:ext cx="8363938" cy="70981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anose="020B0502040204020203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8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Fuschia Tile"/>
          <p:cNvGrpSpPr/>
          <p:nvPr userDrawn="1"/>
        </p:nvGrpSpPr>
        <p:grpSpPr>
          <a:xfrm>
            <a:off x="762580" y="2388950"/>
            <a:ext cx="994669" cy="99441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5" name="Orange Tile"/>
          <p:cNvGrpSpPr/>
          <p:nvPr userDrawn="1"/>
        </p:nvGrpSpPr>
        <p:grpSpPr>
          <a:xfrm>
            <a:off x="1886044" y="2388950"/>
            <a:ext cx="994669" cy="99441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6" name="Teal Tile"/>
          <p:cNvGrpSpPr/>
          <p:nvPr userDrawn="1"/>
        </p:nvGrpSpPr>
        <p:grpSpPr>
          <a:xfrm>
            <a:off x="762580" y="3512121"/>
            <a:ext cx="994669" cy="99441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grpSp>
        <p:nvGrpSpPr>
          <p:cNvPr id="7" name="Green Tile"/>
          <p:cNvGrpSpPr/>
          <p:nvPr userDrawn="1"/>
        </p:nvGrpSpPr>
        <p:grpSpPr>
          <a:xfrm>
            <a:off x="1886044" y="3512121"/>
            <a:ext cx="994669" cy="99441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07" y="2423981"/>
            <a:ext cx="5040038" cy="924348"/>
          </a:xfrm>
        </p:spPr>
        <p:txBody>
          <a:bodyPr anchor="ctr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6907" y="3771911"/>
            <a:ext cx="5154369" cy="347441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1" y="4507707"/>
            <a:ext cx="9144001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8938" y="171450"/>
            <a:ext cx="8364537" cy="45243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Demo Tile"/>
          <p:cNvGrpSpPr/>
          <p:nvPr userDrawn="1"/>
        </p:nvGrpSpPr>
        <p:grpSpPr>
          <a:xfrm>
            <a:off x="763409" y="2390915"/>
            <a:ext cx="2120991" cy="2120439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een Tile"/>
          <p:cNvGrpSpPr/>
          <p:nvPr userDrawn="1"/>
        </p:nvGrpSpPr>
        <p:grpSpPr>
          <a:xfrm>
            <a:off x="762091" y="2390354"/>
            <a:ext cx="2120991" cy="2120439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ner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Blue Tile"/>
          <p:cNvGrpSpPr/>
          <p:nvPr userDrawn="1"/>
        </p:nvGrpSpPr>
        <p:grpSpPr>
          <a:xfrm>
            <a:off x="762092" y="2392295"/>
            <a:ext cx="2120991" cy="2120439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Purple Tile"/>
          <p:cNvGrpSpPr/>
          <p:nvPr userDrawn="1"/>
        </p:nvGrpSpPr>
        <p:grpSpPr>
          <a:xfrm>
            <a:off x="763409" y="2390354"/>
            <a:ext cx="2120991" cy="2120439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nouncement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Orange Tile"/>
          <p:cNvGrpSpPr/>
          <p:nvPr userDrawn="1"/>
        </p:nvGrpSpPr>
        <p:grpSpPr>
          <a:xfrm>
            <a:off x="762092" y="2390612"/>
            <a:ext cx="2120991" cy="2120439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c.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3" y="2390353"/>
            <a:ext cx="5373500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3" y="1135856"/>
            <a:ext cx="5373500" cy="112471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5" y="1189940"/>
            <a:ext cx="4163390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135857"/>
            <a:ext cx="3008303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8" y="3886211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20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50" tIns="34276" rIns="68550" bIns="3427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47" tIns="34274" rIns="68547" bIns="34274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12" y="1223114"/>
            <a:ext cx="762199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6" y="2390362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1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7" tIns="34274" rIns="68547" bIns="34274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Teal Tile"/>
          <p:cNvGrpSpPr/>
          <p:nvPr userDrawn="1"/>
        </p:nvGrpSpPr>
        <p:grpSpPr>
          <a:xfrm>
            <a:off x="762091" y="2390354"/>
            <a:ext cx="2120991" cy="2120439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/>
            <a:lstStyle/>
            <a:p>
              <a:pPr algn="ctr" defTabSz="685165" rtl="0"/>
              <a:endParaRPr lang="en-US" sz="1700" kern="1200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165" rtl="0"/>
              <a:endPara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171460"/>
            <a:ext cx="8363938" cy="45704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085852"/>
            <a:ext cx="8363938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6" y="1085852"/>
            <a:ext cx="8363938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085858"/>
            <a:ext cx="4115872" cy="1323439"/>
          </a:xfrm>
        </p:spPr>
        <p:txBody>
          <a:bodyPr/>
          <a:lstStyle>
            <a:lvl1pPr marL="254635" indent="-254635">
              <a:lnSpc>
                <a:spcPct val="90000"/>
              </a:lnSpc>
              <a:defRPr sz="2100"/>
            </a:lvl1pPr>
            <a:lvl2pPr marL="504825" indent="-243840">
              <a:lnSpc>
                <a:spcPct val="90000"/>
              </a:lnSpc>
              <a:defRPr sz="1800"/>
            </a:lvl2pPr>
            <a:lvl3pPr marL="715010" indent="-215900">
              <a:lnSpc>
                <a:spcPct val="90000"/>
              </a:lnSpc>
              <a:defRPr sz="1500"/>
            </a:lvl3pPr>
            <a:lvl4pPr marL="920115" indent="-205105">
              <a:lnSpc>
                <a:spcPct val="90000"/>
              </a:lnSpc>
              <a:defRPr sz="1400"/>
            </a:lvl4pPr>
            <a:lvl5pPr marL="1136650" indent="-210185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2" y="1085858"/>
            <a:ext cx="4115872" cy="1323439"/>
          </a:xfrm>
        </p:spPr>
        <p:txBody>
          <a:bodyPr/>
          <a:lstStyle>
            <a:lvl1pPr marL="260985" indent="-260985">
              <a:lnSpc>
                <a:spcPct val="90000"/>
              </a:lnSpc>
              <a:defRPr sz="2100"/>
            </a:lvl1pPr>
            <a:lvl2pPr marL="504825" indent="-254635">
              <a:lnSpc>
                <a:spcPct val="90000"/>
              </a:lnSpc>
              <a:defRPr sz="1800"/>
            </a:lvl2pPr>
            <a:lvl3pPr marL="720725" indent="-227330">
              <a:lnSpc>
                <a:spcPct val="90000"/>
              </a:lnSpc>
              <a:defRPr sz="1500"/>
            </a:lvl3pPr>
            <a:lvl4pPr marL="920115" indent="-199390">
              <a:lnSpc>
                <a:spcPct val="90000"/>
              </a:lnSpc>
              <a:defRPr sz="1400"/>
            </a:lvl4pPr>
            <a:lvl5pPr marL="1136650" indent="-205105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055213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065" indent="0">
              <a:buNone/>
              <a:defRPr sz="1200" b="1"/>
            </a:lvl4pPr>
            <a:lvl5pPr marL="1370965" indent="0">
              <a:buNone/>
              <a:defRPr sz="1200" b="1"/>
            </a:lvl5pPr>
            <a:lvl6pPr marL="1713865" indent="0">
              <a:buNone/>
              <a:defRPr sz="1200" b="1"/>
            </a:lvl6pPr>
            <a:lvl7pPr marL="2056765" indent="0">
              <a:buNone/>
              <a:defRPr sz="1200" b="1"/>
            </a:lvl7pPr>
            <a:lvl8pPr marL="2399030" indent="0">
              <a:buNone/>
              <a:defRPr sz="1200" b="1"/>
            </a:lvl8pPr>
            <a:lvl9pPr marL="274193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1600209"/>
            <a:ext cx="4114800" cy="1166473"/>
          </a:xfrm>
        </p:spPr>
        <p:txBody>
          <a:bodyPr/>
          <a:lstStyle>
            <a:lvl1pPr marL="211455" indent="-211455">
              <a:defRPr sz="1700"/>
            </a:lvl1pPr>
            <a:lvl2pPr marL="421640" indent="-199390">
              <a:defRPr sz="1500"/>
            </a:lvl2pPr>
            <a:lvl3pPr marL="609600" indent="-182245">
              <a:defRPr sz="1400"/>
            </a:lvl3pPr>
            <a:lvl4pPr marL="787400" indent="-171450">
              <a:defRPr sz="1300"/>
            </a:lvl4pPr>
            <a:lvl5pPr marL="958850" indent="-154940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2" y="1055213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065" indent="0">
              <a:buNone/>
              <a:defRPr sz="1200" b="1"/>
            </a:lvl4pPr>
            <a:lvl5pPr marL="1370965" indent="0">
              <a:buNone/>
              <a:defRPr sz="1200" b="1"/>
            </a:lvl5pPr>
            <a:lvl6pPr marL="1713865" indent="0">
              <a:buNone/>
              <a:defRPr sz="1200" b="1"/>
            </a:lvl6pPr>
            <a:lvl7pPr marL="2056765" indent="0">
              <a:buNone/>
              <a:defRPr sz="1200" b="1"/>
            </a:lvl7pPr>
            <a:lvl8pPr marL="2399030" indent="0">
              <a:buNone/>
              <a:defRPr sz="1200" b="1"/>
            </a:lvl8pPr>
            <a:lvl9pPr marL="274193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2" y="1600201"/>
            <a:ext cx="4115872" cy="1183964"/>
          </a:xfrm>
        </p:spPr>
        <p:txBody>
          <a:bodyPr/>
          <a:lstStyle>
            <a:lvl1pPr marL="222250" indent="-222250">
              <a:defRPr sz="1700"/>
            </a:lvl1pPr>
            <a:lvl2pPr marL="427355" indent="-205105">
              <a:defRPr sz="1500"/>
            </a:lvl2pPr>
            <a:lvl3pPr marL="615950" indent="-183515">
              <a:defRPr sz="1400"/>
            </a:lvl3pPr>
            <a:lvl4pPr marL="787400" indent="-177800">
              <a:defRPr sz="1300"/>
            </a:lvl4pPr>
            <a:lvl5pPr marL="958850" indent="-165735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ALKIN - Prints in GRAYSCALE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S_log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085852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085852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anose="05000000000000000000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4679160"/>
            <a:ext cx="9144001" cy="464344"/>
          </a:xfrm>
          <a:solidFill>
            <a:srgbClr val="FFFF99"/>
          </a:solidFill>
        </p:spPr>
        <p:txBody>
          <a:bodyPr wrap="square" lIns="152333" tIns="76167" rIns="152333" bIns="76167" anchor="b" anchorCtr="0">
            <a:noAutofit/>
          </a:bodyPr>
          <a:lstStyle>
            <a:lvl1pPr algn="r">
              <a:buFont typeface="Arial" panose="020B0604020202020204" pitchFamily="34" charset="0"/>
              <a:buNone/>
              <a:defRPr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er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5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8" tIns="34285" rIns="68568" bIns="34285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6"/>
            <a:ext cx="4959201" cy="346249"/>
          </a:xfrm>
        </p:spPr>
        <p:txBody>
          <a:bodyPr>
            <a:noAutofit/>
          </a:bodyPr>
          <a:lstStyle>
            <a:lvl1pPr marL="0" indent="0" algn="l" defTabSz="68516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9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8" tIns="34285" rIns="68568" bIns="34285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10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8" tIns="34285" rIns="68568" bIns="34285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8"/>
            <a:ext cx="4959201" cy="1142621"/>
          </a:xfrm>
        </p:spPr>
        <p:txBody>
          <a:bodyPr anchor="ctr" anchorCtr="0">
            <a:noAutofit/>
          </a:bodyPr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9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8" tIns="34285" rIns="68568" bIns="34285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763409" y="2390354"/>
            <a:ext cx="2120991" cy="212043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48" y="171457"/>
            <a:ext cx="8363938" cy="457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48" y="1085850"/>
            <a:ext cx="8363938" cy="70981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anose="020B0502040204020203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8" baseline="0">
                <a:gradFill flip="none" rotWithShape="1">
                  <a:gsLst>
                    <a:gs pos="0">
                      <a:schemeClr val="tx1">
                        <a:lumMod val="75000"/>
                      </a:schemeClr>
                    </a:gs>
                    <a:gs pos="86000">
                      <a:schemeClr val="tx1">
                        <a:lumMod val="7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ile"/>
          <p:cNvSpPr/>
          <p:nvPr userDrawn="1"/>
        </p:nvSpPr>
        <p:spPr bwMode="auto">
          <a:xfrm>
            <a:off x="3008305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463199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1886044" y="2388950"/>
            <a:ext cx="994669" cy="99441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762580" y="3512121"/>
            <a:ext cx="994669" cy="99441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1886044" y="3512121"/>
            <a:ext cx="994669" cy="99441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762580" y="2388949"/>
            <a:ext cx="2118133" cy="211758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68" tIns="34285" rIns="68568" bIns="34285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2823" y="1226585"/>
            <a:ext cx="5191598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72830" y="3663084"/>
            <a:ext cx="5189183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1200" kern="1200" spc="0" baseline="0" dirty="0">
                <a:solidFill>
                  <a:schemeClr val="tx2">
                    <a:alpha val="99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851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072824" y="2543369"/>
            <a:ext cx="5189184" cy="685572"/>
          </a:xfrm>
        </p:spPr>
        <p:txBody>
          <a:bodyPr wrap="square" anchor="ctr">
            <a:noAutofit/>
          </a:bodyPr>
          <a:lstStyle>
            <a:lvl1pPr marL="0" indent="0">
              <a:buNone/>
              <a:defRPr sz="3000" b="1" spc="-75" baseline="0">
                <a:solidFill>
                  <a:schemeClr val="accent2">
                    <a:alpha val="99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079" y="1312474"/>
            <a:ext cx="1979351" cy="81566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88" y="2639645"/>
            <a:ext cx="1624155" cy="15942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898924"/>
            <a:ext cx="8550914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327314"/>
            <a:ext cx="8550915" cy="363561"/>
          </a:xfrm>
        </p:spPr>
        <p:txBody>
          <a:bodyPr/>
          <a:lstStyle>
            <a:lvl1pPr algn="l" defTabSz="6851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anose="020B0502040204020203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estion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766755" y="1135856"/>
            <a:ext cx="5373499" cy="337185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0613" y="1292938"/>
            <a:ext cx="4973345" cy="3037778"/>
          </a:xfrm>
        </p:spPr>
        <p:txBody>
          <a:bodyPr anchor="ctr" anchorCtr="0">
            <a:norm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Question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255795" y="1135857"/>
            <a:ext cx="2120991" cy="2235994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grayWhite">
          <a:xfrm>
            <a:off x="6637497" y="887054"/>
            <a:ext cx="1357589" cy="2827697"/>
          </a:xfrm>
          <a:prstGeom prst="rect">
            <a:avLst/>
          </a:prstGeom>
          <a:noFill/>
        </p:spPr>
        <p:txBody>
          <a:bodyPr wrap="square" lIns="68586" tIns="34294" rIns="68586" bIns="34294">
            <a:spAutoFit/>
          </a:bodyPr>
          <a:lstStyle/>
          <a:p>
            <a:pPr algn="ctr" defTabSz="685165" rtl="0"/>
            <a:r>
              <a:rPr lang="en-US" sz="17900" b="1" kern="1200" dirty="0">
                <a:ln w="57150">
                  <a:solidFill>
                    <a:srgbClr val="FFFFFF"/>
                  </a:solidFill>
                  <a:prstDash val="solid"/>
                </a:ln>
                <a:noFill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255795" y="3486151"/>
            <a:ext cx="2120991" cy="102155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1999580" y="1135857"/>
            <a:ext cx="5144840" cy="337549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5" y="1135856"/>
            <a:ext cx="1121144" cy="112471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763409" y="2390914"/>
            <a:ext cx="1121841" cy="2120439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chEd Tile"/>
          <p:cNvSpPr/>
          <p:nvPr userDrawn="1"/>
        </p:nvSpPr>
        <p:spPr bwMode="auto">
          <a:xfrm>
            <a:off x="7251924" y="3387334"/>
            <a:ext cx="1121144" cy="112471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7248579" y="1135856"/>
            <a:ext cx="1121841" cy="2120439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171076" y="1371600"/>
            <a:ext cx="4761714" cy="2971800"/>
          </a:xfrm>
        </p:spPr>
        <p:txBody>
          <a:bodyPr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3000" b="1"/>
            </a:lvl1pPr>
          </a:lstStyle>
          <a:p>
            <a:pPr lvl="0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White">
          <a:xfrm>
            <a:off x="741952" y="872342"/>
            <a:ext cx="937039" cy="1985159"/>
          </a:xfrm>
          <a:prstGeom prst="rect">
            <a:avLst/>
          </a:prstGeom>
          <a:noFill/>
        </p:spPr>
        <p:txBody>
          <a:bodyPr wrap="none" lIns="68586" tIns="34294" rIns="68586" bIns="34294">
            <a:spAutoFit/>
          </a:bodyPr>
          <a:lstStyle/>
          <a:p>
            <a:pPr algn="ctr" defTabSz="685165" rtl="0"/>
            <a:r>
              <a:rPr lang="en-US" sz="12500" b="1" kern="1200" dirty="0">
                <a:ln w="38100">
                  <a:solidFill>
                    <a:srgbClr val="FFFFFF"/>
                  </a:solidFill>
                  <a:prstDash val="solid"/>
                </a:ln>
                <a:noFill/>
                <a:latin typeface="Arial Black" panose="020B0A04020102020204" pitchFamily="34" charset="0"/>
                <a:ea typeface="+mn-ea"/>
                <a:cs typeface="+mn-cs"/>
              </a:rPr>
              <a:t>“</a:t>
            </a:r>
          </a:p>
        </p:txBody>
      </p:sp>
      <p:sp>
        <p:nvSpPr>
          <p:cNvPr id="22" name="Rectangle 21"/>
          <p:cNvSpPr/>
          <p:nvPr userDrawn="1"/>
        </p:nvSpPr>
        <p:spPr bwMode="grayWhite">
          <a:xfrm>
            <a:off x="7433381" y="3143251"/>
            <a:ext cx="937039" cy="1985159"/>
          </a:xfrm>
          <a:prstGeom prst="rect">
            <a:avLst/>
          </a:prstGeom>
          <a:noFill/>
        </p:spPr>
        <p:txBody>
          <a:bodyPr wrap="none" lIns="68586" tIns="34294" rIns="68586" bIns="34294">
            <a:spAutoFit/>
          </a:bodyPr>
          <a:lstStyle/>
          <a:p>
            <a:pPr algn="ctr" defTabSz="685165" rtl="0"/>
            <a:r>
              <a:rPr lang="en-US" sz="12500" b="1" kern="1200" dirty="0">
                <a:ln w="38100">
                  <a:solidFill>
                    <a:srgbClr val="FFFFFF"/>
                  </a:solidFill>
                  <a:prstDash val="solid"/>
                </a:ln>
                <a:noFill/>
                <a:latin typeface="Arial Black" panose="020B0A04020102020204" pitchFamily="34" charset="0"/>
                <a:ea typeface="+mn-ea"/>
                <a:cs typeface="+mn-cs"/>
              </a:rPr>
              <a:t>”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keaway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2399735" y="1135857"/>
            <a:ext cx="6002313" cy="337549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2275359"/>
            <a:ext cx="1521050" cy="2235994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763409" y="1135856"/>
            <a:ext cx="1521996" cy="102520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28394" y="1371600"/>
            <a:ext cx="5468369" cy="2914650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en-US" sz="2700" dirty="0"/>
            </a:lvl1pPr>
          </a:lstStyle>
          <a:p>
            <a:pPr lvl="0"/>
            <a:endParaRPr lang="en-US" dirty="0"/>
          </a:p>
        </p:txBody>
      </p:sp>
      <p:sp>
        <p:nvSpPr>
          <p:cNvPr id="10" name="Freeform 88"/>
          <p:cNvSpPr>
            <a:spLocks noEditPoints="1"/>
          </p:cNvSpPr>
          <p:nvPr userDrawn="1"/>
        </p:nvSpPr>
        <p:spPr bwMode="auto">
          <a:xfrm>
            <a:off x="1169308" y="1290579"/>
            <a:ext cx="715943" cy="715757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2" name="Freeform 13"/>
          <p:cNvSpPr>
            <a:spLocks noEditPoints="1"/>
          </p:cNvSpPr>
          <p:nvPr userDrawn="1"/>
        </p:nvSpPr>
        <p:spPr bwMode="auto">
          <a:xfrm>
            <a:off x="1076773" y="2568254"/>
            <a:ext cx="895265" cy="1650203"/>
          </a:xfrm>
          <a:custGeom>
            <a:avLst/>
            <a:gdLst>
              <a:gd name="T0" fmla="*/ 2 w 122"/>
              <a:gd name="T1" fmla="*/ 65 h 225"/>
              <a:gd name="T2" fmla="*/ 14 w 122"/>
              <a:gd name="T3" fmla="*/ 77 h 225"/>
              <a:gd name="T4" fmla="*/ 17 w 122"/>
              <a:gd name="T5" fmla="*/ 76 h 225"/>
              <a:gd name="T6" fmla="*/ 119 w 122"/>
              <a:gd name="T7" fmla="*/ 42 h 225"/>
              <a:gd name="T8" fmla="*/ 119 w 122"/>
              <a:gd name="T9" fmla="*/ 30 h 225"/>
              <a:gd name="T10" fmla="*/ 105 w 122"/>
              <a:gd name="T11" fmla="*/ 23 h 225"/>
              <a:gd name="T12" fmla="*/ 3 w 122"/>
              <a:gd name="T13" fmla="*/ 57 h 225"/>
              <a:gd name="T14" fmla="*/ 108 w 122"/>
              <a:gd name="T15" fmla="*/ 28 h 225"/>
              <a:gd name="T16" fmla="*/ 114 w 122"/>
              <a:gd name="T17" fmla="*/ 35 h 225"/>
              <a:gd name="T18" fmla="*/ 111 w 122"/>
              <a:gd name="T19" fmla="*/ 42 h 225"/>
              <a:gd name="T20" fmla="*/ 14 w 122"/>
              <a:gd name="T21" fmla="*/ 71 h 225"/>
              <a:gd name="T22" fmla="*/ 9 w 122"/>
              <a:gd name="T23" fmla="*/ 67 h 225"/>
              <a:gd name="T24" fmla="*/ 8 w 122"/>
              <a:gd name="T25" fmla="*/ 59 h 225"/>
              <a:gd name="T26" fmla="*/ 106 w 122"/>
              <a:gd name="T27" fmla="*/ 28 h 225"/>
              <a:gd name="T28" fmla="*/ 14 w 122"/>
              <a:gd name="T29" fmla="*/ 43 h 225"/>
              <a:gd name="T30" fmla="*/ 66 w 122"/>
              <a:gd name="T31" fmla="*/ 28 h 225"/>
              <a:gd name="T32" fmla="*/ 73 w 122"/>
              <a:gd name="T33" fmla="*/ 10 h 225"/>
              <a:gd name="T34" fmla="*/ 9 w 122"/>
              <a:gd name="T35" fmla="*/ 17 h 225"/>
              <a:gd name="T36" fmla="*/ 3 w 122"/>
              <a:gd name="T37" fmla="*/ 35 h 225"/>
              <a:gd name="T38" fmla="*/ 61 w 122"/>
              <a:gd name="T39" fmla="*/ 8 h 225"/>
              <a:gd name="T40" fmla="*/ 67 w 122"/>
              <a:gd name="T41" fmla="*/ 12 h 225"/>
              <a:gd name="T42" fmla="*/ 65 w 122"/>
              <a:gd name="T43" fmla="*/ 22 h 225"/>
              <a:gd name="T44" fmla="*/ 14 w 122"/>
              <a:gd name="T45" fmla="*/ 37 h 225"/>
              <a:gd name="T46" fmla="*/ 8 w 122"/>
              <a:gd name="T47" fmla="*/ 30 h 225"/>
              <a:gd name="T48" fmla="*/ 120 w 122"/>
              <a:gd name="T49" fmla="*/ 101 h 225"/>
              <a:gd name="T50" fmla="*/ 105 w 122"/>
              <a:gd name="T51" fmla="*/ 90 h 225"/>
              <a:gd name="T52" fmla="*/ 72 w 122"/>
              <a:gd name="T53" fmla="*/ 110 h 225"/>
              <a:gd name="T54" fmla="*/ 55 w 122"/>
              <a:gd name="T55" fmla="*/ 138 h 225"/>
              <a:gd name="T56" fmla="*/ 53 w 122"/>
              <a:gd name="T57" fmla="*/ 99 h 225"/>
              <a:gd name="T58" fmla="*/ 119 w 122"/>
              <a:gd name="T59" fmla="*/ 76 h 225"/>
              <a:gd name="T60" fmla="*/ 119 w 122"/>
              <a:gd name="T61" fmla="*/ 64 h 225"/>
              <a:gd name="T62" fmla="*/ 9 w 122"/>
              <a:gd name="T63" fmla="*/ 85 h 225"/>
              <a:gd name="T64" fmla="*/ 1 w 122"/>
              <a:gd name="T65" fmla="*/ 97 h 225"/>
              <a:gd name="T66" fmla="*/ 3 w 122"/>
              <a:gd name="T67" fmla="*/ 102 h 225"/>
              <a:gd name="T68" fmla="*/ 11 w 122"/>
              <a:gd name="T69" fmla="*/ 110 h 225"/>
              <a:gd name="T70" fmla="*/ 28 w 122"/>
              <a:gd name="T71" fmla="*/ 121 h 225"/>
              <a:gd name="T72" fmla="*/ 17 w 122"/>
              <a:gd name="T73" fmla="*/ 138 h 225"/>
              <a:gd name="T74" fmla="*/ 40 w 122"/>
              <a:gd name="T75" fmla="*/ 209 h 225"/>
              <a:gd name="T76" fmla="*/ 53 w 122"/>
              <a:gd name="T77" fmla="*/ 225 h 225"/>
              <a:gd name="T78" fmla="*/ 87 w 122"/>
              <a:gd name="T79" fmla="*/ 214 h 225"/>
              <a:gd name="T80" fmla="*/ 110 w 122"/>
              <a:gd name="T81" fmla="*/ 187 h 225"/>
              <a:gd name="T82" fmla="*/ 99 w 122"/>
              <a:gd name="T83" fmla="*/ 138 h 225"/>
              <a:gd name="T84" fmla="*/ 104 w 122"/>
              <a:gd name="T85" fmla="*/ 117 h 225"/>
              <a:gd name="T86" fmla="*/ 120 w 122"/>
              <a:gd name="T87" fmla="*/ 101 h 225"/>
              <a:gd name="T88" fmla="*/ 47 w 122"/>
              <a:gd name="T89" fmla="*/ 101 h 225"/>
              <a:gd name="T90" fmla="*/ 49 w 122"/>
              <a:gd name="T91" fmla="*/ 138 h 225"/>
              <a:gd name="T92" fmla="*/ 35 w 122"/>
              <a:gd name="T93" fmla="*/ 121 h 225"/>
              <a:gd name="T94" fmla="*/ 24 w 122"/>
              <a:gd name="T95" fmla="*/ 108 h 225"/>
              <a:gd name="T96" fmla="*/ 12 w 122"/>
              <a:gd name="T97" fmla="*/ 104 h 225"/>
              <a:gd name="T98" fmla="*/ 8 w 122"/>
              <a:gd name="T99" fmla="*/ 97 h 225"/>
              <a:gd name="T100" fmla="*/ 8 w 122"/>
              <a:gd name="T101" fmla="*/ 93 h 225"/>
              <a:gd name="T102" fmla="*/ 12 w 122"/>
              <a:gd name="T103" fmla="*/ 90 h 225"/>
              <a:gd name="T104" fmla="*/ 24 w 122"/>
              <a:gd name="T105" fmla="*/ 86 h 225"/>
              <a:gd name="T106" fmla="*/ 108 w 122"/>
              <a:gd name="T107" fmla="*/ 62 h 225"/>
              <a:gd name="T108" fmla="*/ 114 w 122"/>
              <a:gd name="T109" fmla="*/ 69 h 225"/>
              <a:gd name="T110" fmla="*/ 111 w 122"/>
              <a:gd name="T111" fmla="*/ 76 h 225"/>
              <a:gd name="T112" fmla="*/ 43 w 122"/>
              <a:gd name="T113" fmla="*/ 98 h 225"/>
              <a:gd name="T114" fmla="*/ 103 w 122"/>
              <a:gd name="T115" fmla="*/ 111 h 225"/>
              <a:gd name="T116" fmla="*/ 92 w 122"/>
              <a:gd name="T117" fmla="*/ 138 h 225"/>
              <a:gd name="T118" fmla="*/ 78 w 122"/>
              <a:gd name="T119" fmla="*/ 110 h 225"/>
              <a:gd name="T120" fmla="*/ 106 w 122"/>
              <a:gd name="T121" fmla="*/ 96 h 225"/>
              <a:gd name="T122" fmla="*/ 114 w 122"/>
              <a:gd name="T123" fmla="*/ 10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2" h="225">
                <a:moveTo>
                  <a:pt x="3" y="57"/>
                </a:moveTo>
                <a:cubicBezTo>
                  <a:pt x="1" y="59"/>
                  <a:pt x="1" y="62"/>
                  <a:pt x="2" y="65"/>
                </a:cubicBezTo>
                <a:cubicBezTo>
                  <a:pt x="3" y="69"/>
                  <a:pt x="3" y="69"/>
                  <a:pt x="3" y="69"/>
                </a:cubicBezTo>
                <a:cubicBezTo>
                  <a:pt x="4" y="74"/>
                  <a:pt x="9" y="77"/>
                  <a:pt x="14" y="77"/>
                </a:cubicBezTo>
                <a:cubicBezTo>
                  <a:pt x="14" y="77"/>
                  <a:pt x="14" y="77"/>
                  <a:pt x="14" y="77"/>
                </a:cubicBezTo>
                <a:cubicBezTo>
                  <a:pt x="15" y="77"/>
                  <a:pt x="16" y="77"/>
                  <a:pt x="17" y="76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5" y="47"/>
                  <a:pt x="118" y="45"/>
                  <a:pt x="119" y="42"/>
                </a:cubicBezTo>
                <a:cubicBezTo>
                  <a:pt x="120" y="40"/>
                  <a:pt x="121" y="37"/>
                  <a:pt x="120" y="34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17" y="25"/>
                  <a:pt x="113" y="22"/>
                  <a:pt x="108" y="22"/>
                </a:cubicBezTo>
                <a:cubicBezTo>
                  <a:pt x="107" y="22"/>
                  <a:pt x="106" y="22"/>
                  <a:pt x="105" y="23"/>
                </a:cubicBezTo>
                <a:cubicBezTo>
                  <a:pt x="9" y="51"/>
                  <a:pt x="9" y="51"/>
                  <a:pt x="9" y="51"/>
                </a:cubicBezTo>
                <a:cubicBezTo>
                  <a:pt x="6" y="52"/>
                  <a:pt x="4" y="54"/>
                  <a:pt x="3" y="57"/>
                </a:cubicBezTo>
                <a:close/>
                <a:moveTo>
                  <a:pt x="106" y="28"/>
                </a:moveTo>
                <a:cubicBezTo>
                  <a:pt x="107" y="28"/>
                  <a:pt x="107" y="28"/>
                  <a:pt x="108" y="28"/>
                </a:cubicBezTo>
                <a:cubicBezTo>
                  <a:pt x="110" y="28"/>
                  <a:pt x="112" y="30"/>
                  <a:pt x="113" y="32"/>
                </a:cubicBezTo>
                <a:cubicBezTo>
                  <a:pt x="114" y="35"/>
                  <a:pt x="114" y="35"/>
                  <a:pt x="114" y="35"/>
                </a:cubicBezTo>
                <a:cubicBezTo>
                  <a:pt x="115" y="37"/>
                  <a:pt x="114" y="38"/>
                  <a:pt x="114" y="40"/>
                </a:cubicBezTo>
                <a:cubicBezTo>
                  <a:pt x="113" y="41"/>
                  <a:pt x="112" y="42"/>
                  <a:pt x="111" y="42"/>
                </a:cubicBezTo>
                <a:cubicBezTo>
                  <a:pt x="15" y="71"/>
                  <a:pt x="15" y="71"/>
                  <a:pt x="15" y="71"/>
                </a:cubicBezTo>
                <a:cubicBezTo>
                  <a:pt x="15" y="71"/>
                  <a:pt x="14" y="71"/>
                  <a:pt x="14" y="71"/>
                </a:cubicBezTo>
                <a:cubicBezTo>
                  <a:pt x="14" y="71"/>
                  <a:pt x="14" y="71"/>
                  <a:pt x="14" y="71"/>
                </a:cubicBezTo>
                <a:cubicBezTo>
                  <a:pt x="11" y="71"/>
                  <a:pt x="9" y="69"/>
                  <a:pt x="9" y="67"/>
                </a:cubicBezTo>
                <a:cubicBezTo>
                  <a:pt x="8" y="63"/>
                  <a:pt x="8" y="63"/>
                  <a:pt x="8" y="63"/>
                </a:cubicBezTo>
                <a:cubicBezTo>
                  <a:pt x="7" y="62"/>
                  <a:pt x="7" y="61"/>
                  <a:pt x="8" y="59"/>
                </a:cubicBezTo>
                <a:cubicBezTo>
                  <a:pt x="9" y="58"/>
                  <a:pt x="10" y="57"/>
                  <a:pt x="11" y="57"/>
                </a:cubicBezTo>
                <a:lnTo>
                  <a:pt x="106" y="28"/>
                </a:lnTo>
                <a:close/>
                <a:moveTo>
                  <a:pt x="3" y="35"/>
                </a:moveTo>
                <a:cubicBezTo>
                  <a:pt x="4" y="40"/>
                  <a:pt x="9" y="43"/>
                  <a:pt x="14" y="43"/>
                </a:cubicBezTo>
                <a:cubicBezTo>
                  <a:pt x="15" y="43"/>
                  <a:pt x="16" y="43"/>
                  <a:pt x="17" y="43"/>
                </a:cubicBezTo>
                <a:cubicBezTo>
                  <a:pt x="66" y="28"/>
                  <a:pt x="66" y="28"/>
                  <a:pt x="66" y="28"/>
                </a:cubicBezTo>
                <a:cubicBezTo>
                  <a:pt x="72" y="26"/>
                  <a:pt x="76" y="19"/>
                  <a:pt x="74" y="13"/>
                </a:cubicBezTo>
                <a:cubicBezTo>
                  <a:pt x="73" y="10"/>
                  <a:pt x="73" y="10"/>
                  <a:pt x="73" y="10"/>
                </a:cubicBezTo>
                <a:cubicBezTo>
                  <a:pt x="71" y="4"/>
                  <a:pt x="65" y="0"/>
                  <a:pt x="59" y="2"/>
                </a:cubicBezTo>
                <a:cubicBezTo>
                  <a:pt x="9" y="17"/>
                  <a:pt x="9" y="17"/>
                  <a:pt x="9" y="17"/>
                </a:cubicBezTo>
                <a:cubicBezTo>
                  <a:pt x="3" y="19"/>
                  <a:pt x="0" y="25"/>
                  <a:pt x="2" y="31"/>
                </a:cubicBezTo>
                <a:lnTo>
                  <a:pt x="3" y="35"/>
                </a:lnTo>
                <a:close/>
                <a:moveTo>
                  <a:pt x="11" y="23"/>
                </a:moveTo>
                <a:cubicBezTo>
                  <a:pt x="61" y="8"/>
                  <a:pt x="61" y="8"/>
                  <a:pt x="61" y="8"/>
                </a:cubicBezTo>
                <a:cubicBezTo>
                  <a:pt x="61" y="8"/>
                  <a:pt x="62" y="8"/>
                  <a:pt x="62" y="8"/>
                </a:cubicBezTo>
                <a:cubicBezTo>
                  <a:pt x="64" y="8"/>
                  <a:pt x="67" y="9"/>
                  <a:pt x="67" y="12"/>
                </a:cubicBezTo>
                <a:cubicBezTo>
                  <a:pt x="68" y="15"/>
                  <a:pt x="68" y="15"/>
                  <a:pt x="68" y="15"/>
                </a:cubicBezTo>
                <a:cubicBezTo>
                  <a:pt x="69" y="18"/>
                  <a:pt x="68" y="21"/>
                  <a:pt x="65" y="22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4" y="37"/>
                  <a:pt x="14" y="37"/>
                </a:cubicBezTo>
                <a:cubicBezTo>
                  <a:pt x="11" y="37"/>
                  <a:pt x="9" y="36"/>
                  <a:pt x="9" y="33"/>
                </a:cubicBezTo>
                <a:cubicBezTo>
                  <a:pt x="8" y="30"/>
                  <a:pt x="8" y="30"/>
                  <a:pt x="8" y="30"/>
                </a:cubicBezTo>
                <a:cubicBezTo>
                  <a:pt x="7" y="27"/>
                  <a:pt x="8" y="24"/>
                  <a:pt x="11" y="23"/>
                </a:cubicBezTo>
                <a:close/>
                <a:moveTo>
                  <a:pt x="120" y="101"/>
                </a:moveTo>
                <a:cubicBezTo>
                  <a:pt x="119" y="97"/>
                  <a:pt x="119" y="97"/>
                  <a:pt x="119" y="97"/>
                </a:cubicBezTo>
                <a:cubicBezTo>
                  <a:pt x="117" y="92"/>
                  <a:pt x="110" y="88"/>
                  <a:pt x="105" y="90"/>
                </a:cubicBezTo>
                <a:cubicBezTo>
                  <a:pt x="82" y="96"/>
                  <a:pt x="82" y="96"/>
                  <a:pt x="82" y="96"/>
                </a:cubicBezTo>
                <a:cubicBezTo>
                  <a:pt x="76" y="98"/>
                  <a:pt x="72" y="104"/>
                  <a:pt x="72" y="110"/>
                </a:cubicBezTo>
                <a:cubicBezTo>
                  <a:pt x="72" y="138"/>
                  <a:pt x="72" y="138"/>
                  <a:pt x="72" y="138"/>
                </a:cubicBezTo>
                <a:cubicBezTo>
                  <a:pt x="55" y="138"/>
                  <a:pt x="55" y="138"/>
                  <a:pt x="55" y="138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5" y="104"/>
                  <a:pt x="54" y="101"/>
                  <a:pt x="53" y="99"/>
                </a:cubicBezTo>
                <a:cubicBezTo>
                  <a:pt x="112" y="82"/>
                  <a:pt x="112" y="82"/>
                  <a:pt x="112" y="82"/>
                </a:cubicBezTo>
                <a:cubicBezTo>
                  <a:pt x="115" y="81"/>
                  <a:pt x="118" y="79"/>
                  <a:pt x="119" y="76"/>
                </a:cubicBezTo>
                <a:cubicBezTo>
                  <a:pt x="120" y="73"/>
                  <a:pt x="121" y="70"/>
                  <a:pt x="120" y="67"/>
                </a:cubicBezTo>
                <a:cubicBezTo>
                  <a:pt x="119" y="64"/>
                  <a:pt x="119" y="64"/>
                  <a:pt x="119" y="64"/>
                </a:cubicBezTo>
                <a:cubicBezTo>
                  <a:pt x="117" y="58"/>
                  <a:pt x="110" y="54"/>
                  <a:pt x="105" y="56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6"/>
                  <a:pt x="4" y="88"/>
                  <a:pt x="3" y="90"/>
                </a:cubicBezTo>
                <a:cubicBezTo>
                  <a:pt x="1" y="92"/>
                  <a:pt x="1" y="95"/>
                  <a:pt x="1" y="97"/>
                </a:cubicBezTo>
                <a:cubicBezTo>
                  <a:pt x="2" y="98"/>
                  <a:pt x="2" y="98"/>
                  <a:pt x="2" y="99"/>
                </a:cubicBezTo>
                <a:cubicBezTo>
                  <a:pt x="3" y="102"/>
                  <a:pt x="3" y="102"/>
                  <a:pt x="3" y="102"/>
                </a:cubicBezTo>
                <a:cubicBezTo>
                  <a:pt x="4" y="106"/>
                  <a:pt x="7" y="109"/>
                  <a:pt x="10" y="110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23" y="113"/>
                  <a:pt x="23" y="113"/>
                  <a:pt x="23" y="113"/>
                </a:cubicBezTo>
                <a:cubicBezTo>
                  <a:pt x="26" y="114"/>
                  <a:pt x="28" y="118"/>
                  <a:pt x="28" y="121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17" y="138"/>
                  <a:pt x="17" y="138"/>
                  <a:pt x="17" y="138"/>
                </a:cubicBezTo>
                <a:cubicBezTo>
                  <a:pt x="17" y="187"/>
                  <a:pt x="17" y="187"/>
                  <a:pt x="17" y="187"/>
                </a:cubicBezTo>
                <a:cubicBezTo>
                  <a:pt x="17" y="199"/>
                  <a:pt x="28" y="208"/>
                  <a:pt x="40" y="209"/>
                </a:cubicBezTo>
                <a:cubicBezTo>
                  <a:pt x="40" y="214"/>
                  <a:pt x="40" y="214"/>
                  <a:pt x="40" y="214"/>
                </a:cubicBezTo>
                <a:cubicBezTo>
                  <a:pt x="40" y="220"/>
                  <a:pt x="46" y="225"/>
                  <a:pt x="53" y="225"/>
                </a:cubicBezTo>
                <a:cubicBezTo>
                  <a:pt x="74" y="225"/>
                  <a:pt x="74" y="225"/>
                  <a:pt x="74" y="225"/>
                </a:cubicBezTo>
                <a:cubicBezTo>
                  <a:pt x="81" y="225"/>
                  <a:pt x="87" y="220"/>
                  <a:pt x="87" y="214"/>
                </a:cubicBezTo>
                <a:cubicBezTo>
                  <a:pt x="87" y="209"/>
                  <a:pt x="87" y="209"/>
                  <a:pt x="87" y="209"/>
                </a:cubicBezTo>
                <a:cubicBezTo>
                  <a:pt x="99" y="208"/>
                  <a:pt x="110" y="199"/>
                  <a:pt x="110" y="187"/>
                </a:cubicBezTo>
                <a:cubicBezTo>
                  <a:pt x="110" y="138"/>
                  <a:pt x="110" y="138"/>
                  <a:pt x="110" y="138"/>
                </a:cubicBezTo>
                <a:cubicBezTo>
                  <a:pt x="99" y="138"/>
                  <a:pt x="99" y="138"/>
                  <a:pt x="99" y="138"/>
                </a:cubicBezTo>
                <a:cubicBezTo>
                  <a:pt x="99" y="125"/>
                  <a:pt x="99" y="125"/>
                  <a:pt x="99" y="125"/>
                </a:cubicBezTo>
                <a:cubicBezTo>
                  <a:pt x="99" y="122"/>
                  <a:pt x="101" y="118"/>
                  <a:pt x="104" y="117"/>
                </a:cubicBezTo>
                <a:cubicBezTo>
                  <a:pt x="112" y="115"/>
                  <a:pt x="112" y="115"/>
                  <a:pt x="112" y="115"/>
                </a:cubicBezTo>
                <a:cubicBezTo>
                  <a:pt x="118" y="113"/>
                  <a:pt x="122" y="107"/>
                  <a:pt x="120" y="101"/>
                </a:cubicBezTo>
                <a:close/>
                <a:moveTo>
                  <a:pt x="43" y="98"/>
                </a:moveTo>
                <a:cubicBezTo>
                  <a:pt x="45" y="99"/>
                  <a:pt x="46" y="100"/>
                  <a:pt x="47" y="101"/>
                </a:cubicBezTo>
                <a:cubicBezTo>
                  <a:pt x="48" y="103"/>
                  <a:pt x="49" y="104"/>
                  <a:pt x="49" y="106"/>
                </a:cubicBezTo>
                <a:cubicBezTo>
                  <a:pt x="49" y="138"/>
                  <a:pt x="49" y="138"/>
                  <a:pt x="49" y="138"/>
                </a:cubicBezTo>
                <a:cubicBezTo>
                  <a:pt x="35" y="138"/>
                  <a:pt x="35" y="138"/>
                  <a:pt x="35" y="138"/>
                </a:cubicBezTo>
                <a:cubicBezTo>
                  <a:pt x="35" y="121"/>
                  <a:pt x="35" y="121"/>
                  <a:pt x="35" y="121"/>
                </a:cubicBezTo>
                <a:cubicBezTo>
                  <a:pt x="35" y="116"/>
                  <a:pt x="30" y="110"/>
                  <a:pt x="25" y="108"/>
                </a:cubicBezTo>
                <a:cubicBezTo>
                  <a:pt x="25" y="108"/>
                  <a:pt x="24" y="108"/>
                  <a:pt x="24" y="108"/>
                </a:cubicBezTo>
                <a:cubicBezTo>
                  <a:pt x="13" y="104"/>
                  <a:pt x="13" y="104"/>
                  <a:pt x="13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0" y="104"/>
                  <a:pt x="9" y="102"/>
                  <a:pt x="9" y="101"/>
                </a:cubicBezTo>
                <a:cubicBezTo>
                  <a:pt x="8" y="97"/>
                  <a:pt x="8" y="97"/>
                  <a:pt x="8" y="97"/>
                </a:cubicBezTo>
                <a:cubicBezTo>
                  <a:pt x="8" y="97"/>
                  <a:pt x="8" y="97"/>
                  <a:pt x="8" y="97"/>
                </a:cubicBezTo>
                <a:cubicBezTo>
                  <a:pt x="7" y="96"/>
                  <a:pt x="7" y="94"/>
                  <a:pt x="8" y="93"/>
                </a:cubicBezTo>
                <a:cubicBezTo>
                  <a:pt x="9" y="92"/>
                  <a:pt x="10" y="91"/>
                  <a:pt x="11" y="90"/>
                </a:cubicBezTo>
                <a:cubicBezTo>
                  <a:pt x="12" y="90"/>
                  <a:pt x="12" y="90"/>
                  <a:pt x="12" y="90"/>
                </a:cubicBezTo>
                <a:cubicBezTo>
                  <a:pt x="13" y="90"/>
                  <a:pt x="13" y="90"/>
                  <a:pt x="13" y="90"/>
                </a:cubicBezTo>
                <a:cubicBezTo>
                  <a:pt x="24" y="86"/>
                  <a:pt x="24" y="86"/>
                  <a:pt x="24" y="86"/>
                </a:cubicBezTo>
                <a:cubicBezTo>
                  <a:pt x="106" y="62"/>
                  <a:pt x="106" y="62"/>
                  <a:pt x="106" y="62"/>
                </a:cubicBezTo>
                <a:cubicBezTo>
                  <a:pt x="107" y="62"/>
                  <a:pt x="107" y="62"/>
                  <a:pt x="108" y="62"/>
                </a:cubicBezTo>
                <a:cubicBezTo>
                  <a:pt x="110" y="62"/>
                  <a:pt x="112" y="63"/>
                  <a:pt x="113" y="66"/>
                </a:cubicBezTo>
                <a:cubicBezTo>
                  <a:pt x="114" y="69"/>
                  <a:pt x="114" y="69"/>
                  <a:pt x="114" y="69"/>
                </a:cubicBezTo>
                <a:cubicBezTo>
                  <a:pt x="115" y="71"/>
                  <a:pt x="114" y="72"/>
                  <a:pt x="114" y="73"/>
                </a:cubicBezTo>
                <a:cubicBezTo>
                  <a:pt x="113" y="74"/>
                  <a:pt x="112" y="75"/>
                  <a:pt x="111" y="76"/>
                </a:cubicBezTo>
                <a:cubicBezTo>
                  <a:pt x="49" y="94"/>
                  <a:pt x="49" y="94"/>
                  <a:pt x="49" y="94"/>
                </a:cubicBezTo>
                <a:cubicBezTo>
                  <a:pt x="39" y="97"/>
                  <a:pt x="43" y="98"/>
                  <a:pt x="43" y="98"/>
                </a:cubicBezTo>
                <a:close/>
                <a:moveTo>
                  <a:pt x="111" y="109"/>
                </a:moveTo>
                <a:cubicBezTo>
                  <a:pt x="103" y="111"/>
                  <a:pt x="103" y="111"/>
                  <a:pt x="103" y="111"/>
                </a:cubicBezTo>
                <a:cubicBezTo>
                  <a:pt x="97" y="113"/>
                  <a:pt x="92" y="119"/>
                  <a:pt x="92" y="125"/>
                </a:cubicBezTo>
                <a:cubicBezTo>
                  <a:pt x="92" y="138"/>
                  <a:pt x="92" y="138"/>
                  <a:pt x="92" y="138"/>
                </a:cubicBezTo>
                <a:cubicBezTo>
                  <a:pt x="78" y="138"/>
                  <a:pt x="78" y="138"/>
                  <a:pt x="78" y="138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107"/>
                  <a:pt x="81" y="103"/>
                  <a:pt x="84" y="102"/>
                </a:cubicBezTo>
                <a:cubicBezTo>
                  <a:pt x="106" y="96"/>
                  <a:pt x="106" y="96"/>
                  <a:pt x="106" y="96"/>
                </a:cubicBezTo>
                <a:cubicBezTo>
                  <a:pt x="109" y="95"/>
                  <a:pt x="112" y="96"/>
                  <a:pt x="113" y="99"/>
                </a:cubicBezTo>
                <a:cubicBezTo>
                  <a:pt x="114" y="103"/>
                  <a:pt x="114" y="103"/>
                  <a:pt x="114" y="103"/>
                </a:cubicBezTo>
                <a:cubicBezTo>
                  <a:pt x="115" y="106"/>
                  <a:pt x="113" y="109"/>
                  <a:pt x="111" y="1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tro Special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G:\DVD_Art_08-10-2010\Artwork_Imagery\Brand Photos\Microsoft HealthVault - exp Nov20-2013\1010031_01_03_167.jpg"/>
          <p:cNvPicPr>
            <a:picLocks noChangeAspect="1" noChangeArrowheads="1"/>
          </p:cNvPicPr>
          <p:nvPr userDrawn="1"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3968071" y="744188"/>
            <a:ext cx="1508229" cy="2544318"/>
          </a:xfrm>
          <a:prstGeom prst="rect">
            <a:avLst/>
          </a:prstGeom>
          <a:noFill/>
          <a:ln>
            <a:noFill/>
          </a:ln>
          <a:effectLst>
            <a:outerShdw blurRad="558800" dir="5400000" sx="90000" sy="-19000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20"/>
          <p:cNvSpPr/>
          <p:nvPr userDrawn="1"/>
        </p:nvSpPr>
        <p:spPr bwMode="gray">
          <a:xfrm>
            <a:off x="5585828" y="742951"/>
            <a:ext cx="3558174" cy="2545556"/>
          </a:xfrm>
          <a:custGeom>
            <a:avLst/>
            <a:gdLst>
              <a:gd name="T0" fmla="*/ 0 w 2135"/>
              <a:gd name="T1" fmla="*/ 0 h 2138"/>
              <a:gd name="T2" fmla="*/ 2135 w 2135"/>
              <a:gd name="T3" fmla="*/ 0 h 2138"/>
              <a:gd name="T4" fmla="*/ 2135 w 2135"/>
              <a:gd name="T5" fmla="*/ 2138 h 2138"/>
              <a:gd name="T6" fmla="*/ 0 w 2135"/>
              <a:gd name="T7" fmla="*/ 2138 h 2138"/>
              <a:gd name="T8" fmla="*/ 0 w 2135"/>
              <a:gd name="T9" fmla="*/ 0 h 2138"/>
              <a:gd name="T10" fmla="*/ 0 w 2135"/>
              <a:gd name="T11" fmla="*/ 0 h 2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35" h="2138">
                <a:moveTo>
                  <a:pt x="0" y="0"/>
                </a:moveTo>
                <a:lnTo>
                  <a:pt x="2135" y="0"/>
                </a:lnTo>
                <a:lnTo>
                  <a:pt x="2135" y="2138"/>
                </a:lnTo>
                <a:lnTo>
                  <a:pt x="0" y="21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E46"/>
          </a:solidFill>
          <a:ln>
            <a:noFill/>
          </a:ln>
          <a:effectLst>
            <a:outerShdw blurRad="558800" dir="5400000" sx="90000" sy="-19000" rotWithShape="0">
              <a:prstClr val="black">
                <a:alpha val="20000"/>
              </a:prstClr>
            </a:outerShdw>
          </a:effectLst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>
              <a:defRPr/>
            </a:pPr>
            <a:endParaRPr lang="en-US" sz="1400" dirty="0">
              <a:latin typeface="Segoe UI" panose="020B0502040204020203"/>
              <a:ea typeface="+mn-ea"/>
              <a:cs typeface="+mn-cs"/>
            </a:endParaRPr>
          </a:p>
        </p:txBody>
      </p:sp>
      <p:grpSp>
        <p:nvGrpSpPr>
          <p:cNvPr id="2" name="Group 22"/>
          <p:cNvGrpSpPr/>
          <p:nvPr userDrawn="1"/>
        </p:nvGrpSpPr>
        <p:grpSpPr bwMode="gray">
          <a:xfrm>
            <a:off x="1" y="742951"/>
            <a:ext cx="740857" cy="2576513"/>
            <a:chOff x="0" y="1249363"/>
            <a:chExt cx="1041400" cy="3435350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24" name="Freeform 6"/>
            <p:cNvSpPr/>
            <p:nvPr/>
          </p:nvSpPr>
          <p:spPr bwMode="gray">
            <a:xfrm>
              <a:off x="0" y="1249363"/>
              <a:ext cx="1041400" cy="3394075"/>
            </a:xfrm>
            <a:custGeom>
              <a:avLst/>
              <a:gdLst>
                <a:gd name="T0" fmla="*/ 656 w 656"/>
                <a:gd name="T1" fmla="*/ 1738 h 2138"/>
                <a:gd name="T2" fmla="*/ 0 w 656"/>
                <a:gd name="T3" fmla="*/ 2138 h 2138"/>
                <a:gd name="T4" fmla="*/ 0 w 656"/>
                <a:gd name="T5" fmla="*/ 0 h 2138"/>
                <a:gd name="T6" fmla="*/ 656 w 656"/>
                <a:gd name="T7" fmla="*/ 240 h 2138"/>
                <a:gd name="T8" fmla="*/ 656 w 656"/>
                <a:gd name="T9" fmla="*/ 1738 h 2138"/>
                <a:gd name="T10" fmla="*/ 656 w 656"/>
                <a:gd name="T11" fmla="*/ 1738 h 2138"/>
                <a:gd name="T12" fmla="*/ 656 w 656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6" h="2138">
                  <a:moveTo>
                    <a:pt x="656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656" y="240"/>
                  </a:lnTo>
                  <a:lnTo>
                    <a:pt x="656" y="1738"/>
                  </a:lnTo>
                  <a:lnTo>
                    <a:pt x="656" y="1738"/>
                  </a:lnTo>
                  <a:lnTo>
                    <a:pt x="656" y="1738"/>
                  </a:lnTo>
                  <a:close/>
                </a:path>
              </a:pathLst>
            </a:custGeom>
            <a:gradFill flip="none" rotWithShape="1">
              <a:gsLst>
                <a:gs pos="82000">
                  <a:srgbClr val="F3722C"/>
                </a:gs>
                <a:gs pos="0">
                  <a:srgbClr val="F47836"/>
                </a:gs>
                <a:gs pos="100000">
                  <a:srgbClr val="ED5D0D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>
                <a:defRPr/>
              </a:pPr>
              <a:endParaRPr lang="en-US" sz="1400" dirty="0">
                <a:latin typeface="Segoe UI" panose="020B0502040204020203"/>
                <a:ea typeface="+mn-ea"/>
                <a:cs typeface="+mn-cs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17" r="91456" b="31691"/>
            <a:stretch>
              <a:fillRect/>
            </a:stretch>
          </p:blipFill>
          <p:spPr bwMode="gray">
            <a:xfrm>
              <a:off x="0" y="1249363"/>
              <a:ext cx="1041400" cy="3435350"/>
            </a:xfrm>
            <a:prstGeom prst="rect">
              <a:avLst/>
            </a:prstGeom>
            <a:effectLst>
              <a:outerShdw blurRad="508000" dist="431800" dir="5400000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3" name="Group 25"/>
          <p:cNvGrpSpPr/>
          <p:nvPr userDrawn="1"/>
        </p:nvGrpSpPr>
        <p:grpSpPr bwMode="gray">
          <a:xfrm>
            <a:off x="778449" y="742951"/>
            <a:ext cx="802595" cy="2545556"/>
            <a:chOff x="1095375" y="1249363"/>
            <a:chExt cx="1114426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27" name="Freeform 7"/>
            <p:cNvSpPr/>
            <p:nvPr/>
          </p:nvSpPr>
          <p:spPr bwMode="gray">
            <a:xfrm>
              <a:off x="1095375" y="1249363"/>
              <a:ext cx="1114425" cy="3394075"/>
            </a:xfrm>
            <a:custGeom>
              <a:avLst/>
              <a:gdLst>
                <a:gd name="T0" fmla="*/ 702 w 702"/>
                <a:gd name="T1" fmla="*/ 1738 h 2138"/>
                <a:gd name="T2" fmla="*/ 0 w 702"/>
                <a:gd name="T3" fmla="*/ 2138 h 2138"/>
                <a:gd name="T4" fmla="*/ 0 w 702"/>
                <a:gd name="T5" fmla="*/ 0 h 2138"/>
                <a:gd name="T6" fmla="*/ 702 w 702"/>
                <a:gd name="T7" fmla="*/ 240 h 2138"/>
                <a:gd name="T8" fmla="*/ 702 w 702"/>
                <a:gd name="T9" fmla="*/ 1738 h 2138"/>
                <a:gd name="T10" fmla="*/ 702 w 702"/>
                <a:gd name="T11" fmla="*/ 1738 h 2138"/>
                <a:gd name="T12" fmla="*/ 702 w 702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2138">
                  <a:moveTo>
                    <a:pt x="702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702" y="240"/>
                  </a:lnTo>
                  <a:lnTo>
                    <a:pt x="702" y="1738"/>
                  </a:lnTo>
                  <a:lnTo>
                    <a:pt x="702" y="1738"/>
                  </a:lnTo>
                  <a:lnTo>
                    <a:pt x="702" y="1738"/>
                  </a:lnTo>
                  <a:close/>
                </a:path>
              </a:pathLst>
            </a:custGeom>
            <a:gradFill>
              <a:gsLst>
                <a:gs pos="85000">
                  <a:srgbClr val="FCBC07"/>
                </a:gs>
                <a:gs pos="0">
                  <a:srgbClr val="FFBE0A"/>
                </a:gs>
                <a:gs pos="100000">
                  <a:srgbClr val="EAAD00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>
                <a:defRPr/>
              </a:pPr>
              <a:endParaRPr lang="en-US" sz="1400" dirty="0">
                <a:latin typeface="Segoe UI" panose="020B0502040204020203"/>
                <a:ea typeface="+mn-ea"/>
                <a:cs typeface="+mn-cs"/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87" t="18217" r="81870" b="32293"/>
            <a:stretch>
              <a:fillRect/>
            </a:stretch>
          </p:blipFill>
          <p:spPr bwMode="gray">
            <a:xfrm>
              <a:off x="1095375" y="1249363"/>
              <a:ext cx="1114426" cy="3394075"/>
            </a:xfrm>
            <a:prstGeom prst="rect">
              <a:avLst/>
            </a:prstGeom>
          </p:spPr>
        </p:pic>
      </p:grpSp>
      <p:grpSp>
        <p:nvGrpSpPr>
          <p:cNvPr id="4" name="Group 28"/>
          <p:cNvGrpSpPr/>
          <p:nvPr userDrawn="1"/>
        </p:nvGrpSpPr>
        <p:grpSpPr bwMode="gray">
          <a:xfrm>
            <a:off x="1618636" y="742951"/>
            <a:ext cx="967230" cy="2545556"/>
            <a:chOff x="2260600" y="1249363"/>
            <a:chExt cx="1324168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30" name="Freeform 8"/>
            <p:cNvSpPr/>
            <p:nvPr/>
          </p:nvSpPr>
          <p:spPr bwMode="gray">
            <a:xfrm>
              <a:off x="2260600" y="1249363"/>
              <a:ext cx="1322388" cy="3394075"/>
            </a:xfrm>
            <a:custGeom>
              <a:avLst/>
              <a:gdLst>
                <a:gd name="T0" fmla="*/ 833 w 833"/>
                <a:gd name="T1" fmla="*/ 1738 h 2138"/>
                <a:gd name="T2" fmla="*/ 0 w 833"/>
                <a:gd name="T3" fmla="*/ 2138 h 2138"/>
                <a:gd name="T4" fmla="*/ 0 w 833"/>
                <a:gd name="T5" fmla="*/ 0 h 2138"/>
                <a:gd name="T6" fmla="*/ 833 w 833"/>
                <a:gd name="T7" fmla="*/ 240 h 2138"/>
                <a:gd name="T8" fmla="*/ 833 w 833"/>
                <a:gd name="T9" fmla="*/ 1738 h 2138"/>
                <a:gd name="T10" fmla="*/ 833 w 833"/>
                <a:gd name="T11" fmla="*/ 1738 h 2138"/>
                <a:gd name="T12" fmla="*/ 833 w 833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3" h="2138">
                  <a:moveTo>
                    <a:pt x="833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833" y="240"/>
                  </a:lnTo>
                  <a:lnTo>
                    <a:pt x="833" y="1738"/>
                  </a:lnTo>
                  <a:lnTo>
                    <a:pt x="833" y="1738"/>
                  </a:lnTo>
                  <a:lnTo>
                    <a:pt x="833" y="1738"/>
                  </a:lnTo>
                  <a:close/>
                </a:path>
              </a:pathLst>
            </a:custGeom>
            <a:gradFill>
              <a:gsLst>
                <a:gs pos="82000">
                  <a:srgbClr val="61B943"/>
                </a:gs>
                <a:gs pos="0">
                  <a:srgbClr val="64BE46"/>
                </a:gs>
                <a:gs pos="100000">
                  <a:srgbClr val="58AD3D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>
                <a:defRPr/>
              </a:pPr>
              <a:endParaRPr lang="en-US" sz="1400" dirty="0">
                <a:latin typeface="Segoe UI" panose="020B0502040204020203"/>
                <a:ea typeface="+mn-ea"/>
                <a:cs typeface="+mn-cs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554" t="18217" r="70590" b="32293"/>
            <a:stretch>
              <a:fillRect/>
            </a:stretch>
          </p:blipFill>
          <p:spPr bwMode="gray">
            <a:xfrm>
              <a:off x="2261460" y="1249363"/>
              <a:ext cx="1323308" cy="3394075"/>
            </a:xfrm>
            <a:prstGeom prst="rect">
              <a:avLst/>
            </a:prstGeom>
          </p:spPr>
        </p:pic>
      </p:grpSp>
      <p:grpSp>
        <p:nvGrpSpPr>
          <p:cNvPr id="5" name="Group 31"/>
          <p:cNvGrpSpPr/>
          <p:nvPr userDrawn="1"/>
        </p:nvGrpSpPr>
        <p:grpSpPr bwMode="gray">
          <a:xfrm>
            <a:off x="2623458" y="742951"/>
            <a:ext cx="1257628" cy="2545556"/>
            <a:chOff x="3633788" y="1249363"/>
            <a:chExt cx="1676400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33" name="Freeform 9"/>
            <p:cNvSpPr/>
            <p:nvPr/>
          </p:nvSpPr>
          <p:spPr bwMode="gray">
            <a:xfrm>
              <a:off x="3633788" y="1249363"/>
              <a:ext cx="1676400" cy="3394075"/>
            </a:xfrm>
            <a:custGeom>
              <a:avLst/>
              <a:gdLst>
                <a:gd name="T0" fmla="*/ 1056 w 1056"/>
                <a:gd name="T1" fmla="*/ 1738 h 2138"/>
                <a:gd name="T2" fmla="*/ 0 w 1056"/>
                <a:gd name="T3" fmla="*/ 2138 h 2138"/>
                <a:gd name="T4" fmla="*/ 0 w 1056"/>
                <a:gd name="T5" fmla="*/ 0 h 2138"/>
                <a:gd name="T6" fmla="*/ 1056 w 1056"/>
                <a:gd name="T7" fmla="*/ 240 h 2138"/>
                <a:gd name="T8" fmla="*/ 1056 w 1056"/>
                <a:gd name="T9" fmla="*/ 1738 h 2138"/>
                <a:gd name="T10" fmla="*/ 1056 w 1056"/>
                <a:gd name="T11" fmla="*/ 1738 h 2138"/>
                <a:gd name="T12" fmla="*/ 1056 w 1056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6" h="2138">
                  <a:moveTo>
                    <a:pt x="1056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1056" y="240"/>
                  </a:lnTo>
                  <a:lnTo>
                    <a:pt x="1056" y="1738"/>
                  </a:lnTo>
                  <a:lnTo>
                    <a:pt x="1056" y="1738"/>
                  </a:lnTo>
                  <a:lnTo>
                    <a:pt x="1056" y="1738"/>
                  </a:lnTo>
                  <a:close/>
                </a:path>
              </a:pathLst>
            </a:custGeom>
            <a:gradFill>
              <a:gsLst>
                <a:gs pos="83000">
                  <a:srgbClr val="308A9F"/>
                </a:gs>
                <a:gs pos="0">
                  <a:srgbClr val="3497AE"/>
                </a:gs>
                <a:gs pos="100000">
                  <a:srgbClr val="297587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l" defTabSz="685800" rtl="0">
                <a:defRPr/>
              </a:pPr>
              <a:endParaRPr lang="en-US" sz="1400" dirty="0">
                <a:latin typeface="Segoe UI" panose="020B0502040204020203"/>
                <a:ea typeface="+mn-ea"/>
                <a:cs typeface="+mn-cs"/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5" t="18217" r="55821" b="32293"/>
            <a:stretch>
              <a:fillRect/>
            </a:stretch>
          </p:blipFill>
          <p:spPr bwMode="gray">
            <a:xfrm>
              <a:off x="3633788" y="1249363"/>
              <a:ext cx="1676400" cy="3394075"/>
            </a:xfrm>
            <a:prstGeom prst="rect">
              <a:avLst/>
            </a:prstGeom>
          </p:spPr>
        </p:pic>
      </p:grpSp>
      <p:sp>
        <p:nvSpPr>
          <p:cNvPr id="35" name="Freeform 12"/>
          <p:cNvSpPr/>
          <p:nvPr userDrawn="1"/>
        </p:nvSpPr>
        <p:spPr bwMode="gray">
          <a:xfrm>
            <a:off x="2" y="3377858"/>
            <a:ext cx="1090751" cy="632313"/>
          </a:xfrm>
          <a:custGeom>
            <a:avLst/>
            <a:gdLst>
              <a:gd name="T0" fmla="*/ 0 w 910"/>
              <a:gd name="T1" fmla="*/ 0 h 578"/>
              <a:gd name="T2" fmla="*/ 910 w 910"/>
              <a:gd name="T3" fmla="*/ 0 h 578"/>
              <a:gd name="T4" fmla="*/ 910 w 910"/>
              <a:gd name="T5" fmla="*/ 578 h 578"/>
              <a:gd name="T6" fmla="*/ 0 w 910"/>
              <a:gd name="T7" fmla="*/ 578 h 578"/>
              <a:gd name="T8" fmla="*/ 0 w 910"/>
              <a:gd name="T9" fmla="*/ 0 h 578"/>
              <a:gd name="T10" fmla="*/ 0 w 910"/>
              <a:gd name="T11" fmla="*/ 0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10" h="578">
                <a:moveTo>
                  <a:pt x="0" y="0"/>
                </a:moveTo>
                <a:lnTo>
                  <a:pt x="910" y="0"/>
                </a:lnTo>
                <a:lnTo>
                  <a:pt x="910" y="578"/>
                </a:lnTo>
                <a:lnTo>
                  <a:pt x="0" y="57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lumMod val="75000"/>
            </a:srgb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800" rtl="0">
              <a:defRPr/>
            </a:pPr>
            <a:endParaRPr lang="en-US" sz="1400" dirty="0"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36" name="Freeform 13"/>
          <p:cNvSpPr/>
          <p:nvPr userDrawn="1"/>
        </p:nvSpPr>
        <p:spPr bwMode="gray">
          <a:xfrm>
            <a:off x="1126627" y="3377858"/>
            <a:ext cx="8014993" cy="632313"/>
          </a:xfrm>
          <a:custGeom>
            <a:avLst/>
            <a:gdLst>
              <a:gd name="T0" fmla="*/ 0 w 6730"/>
              <a:gd name="T1" fmla="*/ 0 h 578"/>
              <a:gd name="T2" fmla="*/ 6730 w 6730"/>
              <a:gd name="T3" fmla="*/ 0 h 578"/>
              <a:gd name="T4" fmla="*/ 6730 w 6730"/>
              <a:gd name="T5" fmla="*/ 578 h 578"/>
              <a:gd name="T6" fmla="*/ 0 w 6730"/>
              <a:gd name="T7" fmla="*/ 578 h 578"/>
              <a:gd name="T8" fmla="*/ 0 w 6730"/>
              <a:gd name="T9" fmla="*/ 0 h 578"/>
              <a:gd name="T10" fmla="*/ 0 w 6730"/>
              <a:gd name="T11" fmla="*/ 0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30" h="578">
                <a:moveTo>
                  <a:pt x="0" y="0"/>
                </a:moveTo>
                <a:lnTo>
                  <a:pt x="6730" y="0"/>
                </a:lnTo>
                <a:lnTo>
                  <a:pt x="6730" y="578"/>
                </a:lnTo>
                <a:lnTo>
                  <a:pt x="0" y="57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lumMod val="75000"/>
            </a:srgbClr>
          </a:solidFill>
          <a:ln>
            <a:noFill/>
          </a:ln>
        </p:spPr>
        <p:txBody>
          <a:bodyPr vert="horz" wrap="square" lIns="205758" tIns="34294" rIns="68586" bIns="34294" numCol="1" anchor="ctr" anchorCtr="0" compatLnSpc="1"/>
          <a:lstStyle/>
          <a:p>
            <a:pPr algn="l" defTabSz="685800" rtl="0">
              <a:defRPr/>
            </a:pPr>
            <a:endParaRPr lang="en-US" sz="2700" dirty="0"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10800000" scaled="1"/>
              </a:gra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39" name="Content Placeholder 37"/>
          <p:cNvSpPr>
            <a:spLocks noGrp="1"/>
          </p:cNvSpPr>
          <p:nvPr>
            <p:ph sz="quarter" idx="10" hasCustomPrompt="1"/>
          </p:nvPr>
        </p:nvSpPr>
        <p:spPr>
          <a:xfrm>
            <a:off x="1275491" y="3340896"/>
            <a:ext cx="7755370" cy="69249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kumimoji="0" lang="en-US" sz="4500" b="0" i="0" u="none" strike="noStrike" kern="0" cap="none" spc="0" normalizeH="0" baseline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108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mtClean="0"/>
              <a:t>Click to…</a:t>
            </a:r>
            <a:endParaRPr lang="en-US" dirty="0"/>
          </a:p>
        </p:txBody>
      </p:sp>
      <p:sp>
        <p:nvSpPr>
          <p:cNvPr id="41" name="Content Placeholder 40"/>
          <p:cNvSpPr>
            <a:spLocks noGrp="1"/>
          </p:cNvSpPr>
          <p:nvPr>
            <p:ph sz="quarter" idx="11" hasCustomPrompt="1"/>
          </p:nvPr>
        </p:nvSpPr>
        <p:spPr>
          <a:xfrm>
            <a:off x="5715299" y="1844233"/>
            <a:ext cx="3315563" cy="373949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700" baseline="0"/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3095227" y="4933704"/>
            <a:ext cx="2953549" cy="12695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685165" rtl="0"/>
            <a:r>
              <a:rPr lang="en-US" sz="800" kern="1200" spc="113" dirty="0">
                <a:gradFill>
                  <a:gsLst>
                    <a:gs pos="0">
                      <a:srgbClr val="292929">
                        <a:alpha val="50000"/>
                      </a:srgbClr>
                    </a:gs>
                    <a:gs pos="86000">
                      <a:srgbClr val="292929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37" name="Content Placeholder 40"/>
          <p:cNvSpPr>
            <a:spLocks noGrp="1"/>
          </p:cNvSpPr>
          <p:nvPr>
            <p:ph sz="quarter" idx="12" hasCustomPrompt="1"/>
          </p:nvPr>
        </p:nvSpPr>
        <p:spPr>
          <a:xfrm>
            <a:off x="5715299" y="2883451"/>
            <a:ext cx="3315563" cy="290849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8510" y="1087044"/>
            <a:ext cx="8231744" cy="1440394"/>
          </a:xfrm>
        </p:spPr>
        <p:txBody>
          <a:bodyPr>
            <a:spAutoFit/>
          </a:bodyPr>
          <a:lstStyle>
            <a:lvl1pPr marL="0" indent="0">
              <a:buNone/>
              <a:defRPr sz="2700" spc="-75" baseline="0">
                <a:gradFill>
                  <a:gsLst>
                    <a:gs pos="86250">
                      <a:srgbClr val="0071BC"/>
                    </a:gs>
                    <a:gs pos="72500">
                      <a:srgbClr val="0071BC"/>
                    </a:gs>
                  </a:gsLst>
                  <a:lin ang="5400000" scaled="0"/>
                </a:gradFill>
                <a:latin typeface="Segoe UI Light" panose="020B0502040204020203" charset="0"/>
              </a:defRPr>
            </a:lvl1pPr>
            <a:lvl2pPr marL="2540" indent="0">
              <a:buNone/>
              <a:defRPr sz="1500" spc="-75" baseline="0">
                <a:latin typeface="+mn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nnouncement, &quot;special&quot; slide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04" y="2390353"/>
            <a:ext cx="5373499" cy="211735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02" y="1135856"/>
            <a:ext cx="5373499" cy="112471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35106" y="1189940"/>
            <a:ext cx="4163389" cy="103398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6" y="3886201"/>
            <a:ext cx="4959201" cy="346249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7463194" y="1404710"/>
            <a:ext cx="631031" cy="631196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6" tIns="34294" rIns="68586" bIns="34294" numCol="1" anchor="t" anchorCtr="0" compatLnSpc="1"/>
          <a:lstStyle/>
          <a:p>
            <a:pPr algn="l" defTabSz="685165" rtl="0"/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766754" y="1135856"/>
            <a:ext cx="2119674" cy="112471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1262" y="1306871"/>
            <a:ext cx="1550658" cy="78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5" y="2390353"/>
            <a:ext cx="4959201" cy="1142621"/>
          </a:xfr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3008304" y="4507707"/>
            <a:ext cx="6135697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762091" y="2390612"/>
            <a:ext cx="2120991" cy="2120439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3" tIns="34292" rIns="68583" bIns="34292" numCol="1" rtlCol="0" anchor="ctr" anchorCtr="0" compatLnSpc="1"/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1" b="29324"/>
          <a:stretch>
            <a:fillRect/>
          </a:stretch>
        </p:blipFill>
        <p:spPr>
          <a:xfrm>
            <a:off x="745055" y="3449030"/>
            <a:ext cx="1077533" cy="106202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4" b="6561"/>
          <a:stretch>
            <a:fillRect/>
          </a:stretch>
        </p:blipFill>
        <p:spPr>
          <a:xfrm>
            <a:off x="745055" y="2390352"/>
            <a:ext cx="1081536" cy="106048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02" r="27745"/>
          <a:stretch>
            <a:fillRect/>
          </a:stretch>
        </p:blipFill>
        <p:spPr>
          <a:xfrm>
            <a:off x="1822588" y="3450832"/>
            <a:ext cx="1058125" cy="106022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" t="8653" r="-1" b="9844"/>
          <a:stretch>
            <a:fillRect/>
          </a:stretch>
        </p:blipFill>
        <p:spPr>
          <a:xfrm>
            <a:off x="1822587" y="2390353"/>
            <a:ext cx="1058126" cy="1058677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9436" y="171451"/>
            <a:ext cx="8363938" cy="457049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ontent Slide Tit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191" y="1192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图片 1024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/>
          <p:cNvSpPr>
            <a:spLocks noGrp="1"/>
          </p:cNvSpPr>
          <p:nvPr>
            <p:ph sz="quarter" idx="18"/>
            <p:custDataLst>
              <p:tags r:id="rId2"/>
            </p:custDataLst>
          </p:nvPr>
        </p:nvSpPr>
        <p:spPr>
          <a:xfrm>
            <a:off x="460721" y="1064525"/>
            <a:ext cx="8076603" cy="150041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1" y="711387"/>
            <a:ext cx="8239208" cy="228601"/>
          </a:xfrm>
        </p:spPr>
        <p:txBody>
          <a:bodyPr lIns="0" anchor="b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 b="1" cap="all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20535" y="186929"/>
            <a:ext cx="8275875" cy="457049"/>
          </a:xfrm>
        </p:spPr>
        <p:txBody>
          <a:bodyPr lIns="0" anchor="t" anchorCtr="0"/>
          <a:lstStyle>
            <a:lvl1pPr algn="l"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_With_Grid_Background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Left Mask"/>
          <p:cNvSpPr/>
          <p:nvPr userDrawn="1"/>
        </p:nvSpPr>
        <p:spPr bwMode="auto">
          <a:xfrm>
            <a:off x="0" y="1135857"/>
            <a:ext cx="3008302" cy="112471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43" name="Top Mask"/>
          <p:cNvSpPr/>
          <p:nvPr userDrawn="1"/>
        </p:nvSpPr>
        <p:spPr bwMode="auto">
          <a:xfrm>
            <a:off x="0" y="1"/>
            <a:ext cx="9144000" cy="113585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8381803" y="1223105"/>
            <a:ext cx="762198" cy="311623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1" y="4507707"/>
            <a:ext cx="9144001" cy="63579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noAutofit/>
          </a:bodyPr>
          <a:lstStyle/>
          <a:p>
            <a:pPr algn="ctr" defTabSz="685165" rtl="0"/>
            <a:endParaRPr lang="en-US" sz="1700" kern="1200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389436" y="171451"/>
            <a:ext cx="8363938" cy="45704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085849"/>
            <a:ext cx="8363938" cy="148194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800"/>
              </a:spcBef>
              <a:buNone/>
              <a:defRPr sz="3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5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2pPr>
            <a:lvl3pPr marL="173990" indent="0">
              <a:buNone/>
              <a:defRPr sz="15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3pPr>
            <a:lvl4pPr marL="342900" indent="0">
              <a:buNone/>
              <a:defRPr sz="15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4pPr>
            <a:lvl5pPr marL="520065" indent="0">
              <a:buNone/>
              <a:defRPr sz="15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405550"/>
            <a:ext cx="9144000" cy="332399"/>
          </a:xfr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1962973"/>
            <a:ext cx="2627445" cy="263165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cap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65742" y="4822870"/>
            <a:ext cx="1098755" cy="182012"/>
          </a:xfrm>
          <a:prstGeom prst="rect">
            <a:avLst/>
          </a:prstGeom>
        </p:spPr>
        <p:txBody>
          <a:bodyPr lIns="68589" tIns="34295" rIns="68589" bIns="34295"/>
          <a:lstStyle/>
          <a:p>
            <a:pPr algn="l" defTabSz="685165" rtl="0"/>
            <a:fld id="{99440AFB-B92A-4788-9C9A-88FA1E3858F6}" type="datetime1">
              <a:rPr lang="en-US" sz="1400" kern="120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rPr>
              <a:t>1/17/2019</a:t>
            </a:fld>
            <a:endParaRPr lang="en-US" sz="1400" kern="1200" dirty="0">
              <a:solidFill>
                <a:srgbClr val="FFFFFF"/>
              </a:solidFill>
              <a:latin typeface="Segoe UI" panose="020B0502040204020203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64493" y="4822870"/>
            <a:ext cx="2895600" cy="182012"/>
          </a:xfrm>
          <a:prstGeom prst="rect">
            <a:avLst/>
          </a:prstGeom>
        </p:spPr>
        <p:txBody>
          <a:bodyPr lIns="48012" tIns="24006" rIns="48012" bIns="24006"/>
          <a:lstStyle/>
          <a:p>
            <a:pPr algn="l" defTabSz="685165" rtl="0"/>
            <a:r>
              <a:rPr lang="en-US" sz="1400" kern="1200" dirty="0">
                <a:solidFill>
                  <a:srgbClr val="FFFFFF"/>
                </a:solidFill>
                <a:latin typeface="Segoe UI" panose="020B0502040204020203"/>
                <a:ea typeface="+mn-ea"/>
                <a:cs typeface="+mn-cs"/>
              </a:rPr>
              <a:t>‹#›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8938" y="171450"/>
            <a:ext cx="8364537" cy="45243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428750"/>
            <a:ext cx="4105275" cy="15700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428750"/>
            <a:ext cx="4106862" cy="15700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Consolas" panose="020B0609020204030204" pitchFamily="49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8273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8273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90525" y="1085850"/>
            <a:ext cx="4106863" cy="1473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9788" y="1085850"/>
            <a:ext cx="4106862" cy="1473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5913" y="171450"/>
            <a:ext cx="2090737" cy="23876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4575" cy="23876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90525" y="1085850"/>
            <a:ext cx="4106863" cy="1473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9788" y="1085850"/>
            <a:ext cx="4106862" cy="1473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5913" y="171450"/>
            <a:ext cx="2090737" cy="23876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4575" cy="23876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171450"/>
            <a:ext cx="2090737" cy="23971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88938" y="171450"/>
            <a:ext cx="6121400" cy="23971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8938" y="1085850"/>
            <a:ext cx="4105275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6613" y="1085850"/>
            <a:ext cx="4106862" cy="148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Segoe UI" panose="020B0502040204020203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10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9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47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37" Type="http://schemas.openxmlformats.org/officeDocument/2006/relationships/slideLayout" Target="../slideLayouts/slideLayout155.xml"/><Relationship Id="rId40" Type="http://schemas.openxmlformats.org/officeDocument/2006/relationships/theme" Target="../theme/theme11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53.xml"/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4524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2051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2975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273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4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9436" y="171451"/>
            <a:ext cx="8363938" cy="4570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085851"/>
            <a:ext cx="8363937" cy="1500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3300" b="0" kern="1200" cap="none" spc="-75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panose="020B0604020202020204" pitchFamily="34" charset="0"/>
        </a:defRPr>
      </a:lvl1pPr>
    </p:titleStyle>
    <p:bodyStyle>
      <a:lvl1pPr marL="345440" indent="-345440" algn="l" defTabSz="68580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985" indent="-296545" algn="l" defTabSz="68580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4245" indent="-302260" algn="l" defTabSz="68580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1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960" indent="-259715" algn="l" defTabSz="68580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6055" indent="-252730" algn="l" defTabSz="68580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0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9436" y="171460"/>
            <a:ext cx="8363938" cy="4570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085852"/>
            <a:ext cx="8363937" cy="1500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  <p:sldLayoutId id="2147483802" r:id="rId26"/>
    <p:sldLayoutId id="2147483803" r:id="rId27"/>
    <p:sldLayoutId id="2147483804" r:id="rId28"/>
    <p:sldLayoutId id="2147483805" r:id="rId29"/>
    <p:sldLayoutId id="2147483806" r:id="rId30"/>
    <p:sldLayoutId id="2147483807" r:id="rId31"/>
    <p:sldLayoutId id="2147483808" r:id="rId32"/>
    <p:sldLayoutId id="2147483809" r:id="rId33"/>
    <p:sldLayoutId id="2147483810" r:id="rId34"/>
    <p:sldLayoutId id="2147483811" r:id="rId35"/>
    <p:sldLayoutId id="2147483812" r:id="rId36"/>
    <p:sldLayoutId id="2147483813" r:id="rId37"/>
    <p:sldLayoutId id="2147483814" r:id="rId38"/>
    <p:sldLayoutId id="2147483815" r:id="rId3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lang="en-US" sz="3300" b="0" kern="1200" cap="none" spc="-75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panose="020B0604020202020204" pitchFamily="34" charset="0"/>
        </a:defRPr>
      </a:lvl1pPr>
    </p:titleStyle>
    <p:bodyStyle>
      <a:lvl1pPr marL="345440" indent="-345440" algn="l" defTabSz="685165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6545" algn="l" defTabSz="685165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1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3610" indent="-302260" algn="l" defTabSz="685165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1"/>
        </a:buBlip>
        <a:defRPr sz="1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325" indent="-259715" algn="l" defTabSz="685165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5420" indent="-252095" algn="l" defTabSz="685165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315" indent="-171450" algn="l" defTabSz="6851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580" indent="-171450" algn="l" defTabSz="6851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80" indent="-171450" algn="l" defTabSz="6851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80" indent="-171450" algn="l" defTabSz="6851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65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65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865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65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3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3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4524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3075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428750"/>
            <a:ext cx="8364537" cy="15700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Consolas" panose="020B0609020204030204" pitchFamily="49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Consolas" panose="020B0609020204030204" pitchFamily="49" charset="0"/>
              </a:rPr>
              <a:t>Second level</a:t>
            </a:r>
          </a:p>
          <a:p>
            <a:pPr lvl="2"/>
            <a:r>
              <a:rPr lang="zh-CN" altLang="zh-CN" smtClean="0">
                <a:sym typeface="Consolas" panose="020B0609020204030204" pitchFamily="49" charset="0"/>
              </a:rPr>
              <a:t>Third level</a:t>
            </a:r>
          </a:p>
          <a:p>
            <a:pPr lvl="3"/>
            <a:r>
              <a:rPr lang="zh-CN" altLang="zh-CN" smtClean="0">
                <a:sym typeface="Consolas" panose="020B0609020204030204" pitchFamily="49" charset="0"/>
              </a:rPr>
              <a:t>Fourth level</a:t>
            </a:r>
          </a:p>
          <a:p>
            <a:pPr lvl="4"/>
            <a:r>
              <a:rPr lang="zh-CN" altLang="zh-CN" smtClean="0">
                <a:sym typeface="Consolas" panose="020B0609020204030204" pitchFamily="49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2900" indent="-34290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 sz="2300">
          <a:solidFill>
            <a:schemeClr val="tx1"/>
          </a:solidFill>
          <a:latin typeface="+mn-lt"/>
          <a:ea typeface="+mn-ea"/>
          <a:cs typeface="+mn-cs"/>
          <a:sym typeface="Consolas" panose="020B0609020204030204" pitchFamily="49" charset="0"/>
        </a:defRPr>
      </a:lvl1pPr>
      <a:lvl2pPr marL="288925" indent="-635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 sz="2100"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2pPr>
      <a:lvl3pPr marL="571500" indent="-5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3pPr>
      <a:lvl4pPr marL="821055" indent="5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4pPr>
      <a:lvl5pPr marL="1069975" indent="7588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5pPr>
      <a:lvl6pPr marL="15271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6pPr>
      <a:lvl7pPr marL="19843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7pPr>
      <a:lvl8pPr marL="24415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8pPr>
      <a:lvl9pPr marL="28987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Font typeface="Arial" panose="020B0604020202020204" pitchFamily="34" charset="0"/>
        <a:defRPr>
          <a:solidFill>
            <a:schemeClr val="tx1"/>
          </a:solidFill>
          <a:latin typeface="+mn-lt"/>
          <a:cs typeface="+mn-cs"/>
          <a:sym typeface="Consolas" panose="020B0609020204030204" pitchFamily="49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4524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4099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4880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08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4524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5123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4880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08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082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561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6147" name="Text Placeholder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0525" y="1085850"/>
            <a:ext cx="8366125" cy="1473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254000" indent="-25400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anose="020B0604020202020204" pitchFamily="34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430530" indent="-174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2pPr>
      <a:lvl3pPr marL="598805" indent="-168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3pPr>
      <a:lvl4pPr marL="773430" indent="-17335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4pPr>
      <a:lvl5pPr marL="941705" indent="-168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5pPr>
      <a:lvl6pPr marL="13989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6pPr>
      <a:lvl7pPr marL="18561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7pPr>
      <a:lvl8pPr marL="23133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8pPr>
      <a:lvl9pPr marL="27705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561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7171" name="Text Placeholder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0525" y="1085850"/>
            <a:ext cx="8366125" cy="1473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254000" indent="-25400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Arial" panose="020B0604020202020204" pitchFamily="34" charset="0"/>
        <a:buChar char="•"/>
        <a:defRPr sz="27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430530" indent="-174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2pPr>
      <a:lvl3pPr marL="598805" indent="-168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3pPr>
      <a:lvl4pPr marL="773430" indent="-17335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4pPr>
      <a:lvl5pPr marL="941705" indent="-168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5pPr>
      <a:lvl6pPr marL="13989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6pPr>
      <a:lvl7pPr marL="18561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7pPr>
      <a:lvl8pPr marL="23133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8pPr>
      <a:lvl9pPr marL="2770505" indent="-168275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Font typeface="Wingdings" panose="05000000000000000000" pitchFamily="2" charset="2"/>
        <a:buChar char=""/>
        <a:defRPr sz="1500">
          <a:solidFill>
            <a:schemeClr val="tx1"/>
          </a:solidFill>
          <a:latin typeface="Segoe UI" panose="020B0502040204020203" pitchFamily="34" charset="0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4524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8195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Segoe UI" panose="020B0502040204020203" pitchFamily="34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4880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273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3"/>
        </a:buBlip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561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9219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4880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273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88938" y="171450"/>
            <a:ext cx="8364537" cy="561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Arial" panose="020B0604020202020204" pitchFamily="34" charset="0"/>
              </a:rPr>
              <a:t>Click to edit Master title style</a:t>
            </a:r>
          </a:p>
        </p:txBody>
      </p:sp>
      <p:sp>
        <p:nvSpPr>
          <p:cNvPr id="10243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938" y="1085850"/>
            <a:ext cx="8364537" cy="14827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zh-CN" smtClean="0">
                <a:sym typeface="Segoe UI" panose="020B0502040204020203" pitchFamily="34" charset="0"/>
              </a:rPr>
              <a:t>Click to edit Master text styles</a:t>
            </a:r>
          </a:p>
          <a:p>
            <a:pPr lvl="1"/>
            <a:r>
              <a:rPr lang="zh-CN" altLang="zh-CN" smtClean="0">
                <a:sym typeface="Segoe UI" panose="020B0502040204020203" pitchFamily="34" charset="0"/>
              </a:rPr>
              <a:t>Second level</a:t>
            </a:r>
          </a:p>
          <a:p>
            <a:pPr lvl="2"/>
            <a:r>
              <a:rPr lang="zh-CN" altLang="zh-CN" smtClean="0">
                <a:sym typeface="Segoe UI" panose="020B0502040204020203" pitchFamily="34" charset="0"/>
              </a:rPr>
              <a:t>Third level</a:t>
            </a:r>
          </a:p>
          <a:p>
            <a:pPr lvl="3"/>
            <a:r>
              <a:rPr lang="zh-CN" altLang="zh-CN" smtClean="0">
                <a:sym typeface="Segoe UI" panose="020B0502040204020203" pitchFamily="34" charset="0"/>
              </a:rPr>
              <a:t>Fourth level</a:t>
            </a:r>
          </a:p>
          <a:p>
            <a:pPr lvl="4"/>
            <a:r>
              <a:rPr lang="zh-CN" altLang="zh-CN" smtClean="0">
                <a:sym typeface="Segoe UI" panose="020B0502040204020203" pitchFamily="34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>
    <p:fade/>
  </p:transition>
  <p:txStyles>
    <p:titleStyle>
      <a:lvl1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+mj-lt"/>
          <a:ea typeface="+mj-ea"/>
          <a:cs typeface="+mj-cs"/>
          <a:sym typeface="Arial" panose="020B0604020202020204" pitchFamily="34" charset="0"/>
        </a:defRPr>
      </a:lvl1pPr>
      <a:lvl2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2pPr>
      <a:lvl3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3pPr>
      <a:lvl4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4pPr>
      <a:lvl5pPr marL="685800" indent="-685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5pPr>
      <a:lvl6pPr marL="11430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6pPr>
      <a:lvl7pPr marL="16002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7pPr>
      <a:lvl8pPr marL="20574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8pPr>
      <a:lvl9pPr marL="2514600" indent="-685800" algn="l" rtl="0" fontAlgn="base">
        <a:lnSpc>
          <a:spcPct val="90000"/>
        </a:lnSpc>
        <a:spcBef>
          <a:spcPct val="0"/>
        </a:spcBef>
        <a:spcAft>
          <a:spcPct val="0"/>
        </a:spcAft>
        <a:defRPr sz="4100">
          <a:solidFill>
            <a:schemeClr val="tx2"/>
          </a:solidFill>
          <a:latin typeface="Segoe UI Light" panose="020B0502040204020203" charset="0"/>
          <a:cs typeface="Segoe UI" panose="020B0502040204020203" pitchFamily="34" charset="0"/>
          <a:sym typeface="Arial" panose="020B0604020202020204" pitchFamily="34" charset="0"/>
        </a:defRPr>
      </a:lvl9pPr>
    </p:titleStyle>
    <p:bodyStyle>
      <a:lvl1pPr marL="346075" indent="-3460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Segoe UI" panose="020B0502040204020203" pitchFamily="34" charset="0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21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2pPr>
      <a:lvl3pPr marL="944880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3pPr>
      <a:lvl4pPr marL="1203325" indent="-25908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4pPr>
      <a:lvl5pPr marL="1456055" indent="-252730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5pPr>
      <a:lvl6pPr marL="19132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6pPr>
      <a:lvl7pPr marL="23704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7pPr>
      <a:lvl8pPr marL="28276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8pPr>
      <a:lvl9pPr marL="3284855" indent="-252730" algn="l" defTabSz="685800" rtl="0" fontAlgn="base">
        <a:lnSpc>
          <a:spcPct val="90000"/>
        </a:lnSpc>
        <a:spcBef>
          <a:spcPct val="20000"/>
        </a:spcBef>
        <a:spcAft>
          <a:spcPct val="0"/>
        </a:spcAft>
        <a:buSzPct val="80000"/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cs typeface="+mn-cs"/>
          <a:sym typeface="Segoe UI" panose="020B0502040204020203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image" Target="../media/image2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2.w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5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w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5.wmf"/><Relationship Id="rId4" Type="http://schemas.openxmlformats.org/officeDocument/2006/relationships/image" Target="../media/image23.png"/><Relationship Id="rId9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13" Type="http://schemas.openxmlformats.org/officeDocument/2006/relationships/image" Target="../media/image30.jpe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29.wmf"/><Relationship Id="rId2" Type="http://schemas.openxmlformats.org/officeDocument/2006/relationships/slideLayout" Target="../slideLayouts/slideLayout15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6.wmf"/><Relationship Id="rId11" Type="http://schemas.openxmlformats.org/officeDocument/2006/relationships/oleObject" Target="../embeddings/oleObject9.bin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8.wmf"/><Relationship Id="rId4" Type="http://schemas.openxmlformats.org/officeDocument/2006/relationships/image" Target="../media/image27.png"/><Relationship Id="rId9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0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Tile"/>
          <p:cNvSpPr/>
          <p:nvPr/>
        </p:nvSpPr>
        <p:spPr bwMode="auto">
          <a:xfrm>
            <a:off x="2987824" y="2139702"/>
            <a:ext cx="5373687" cy="2116138"/>
          </a:xfrm>
          <a:prstGeom prst="rect">
            <a:avLst/>
          </a:prstGeom>
          <a:solidFill>
            <a:schemeClr val="tx1"/>
          </a:solidFill>
          <a:ln w="9525">
            <a:noFill/>
            <a:bevel/>
          </a:ln>
        </p:spPr>
        <p:txBody>
          <a:bodyPr lIns="68547" tIns="34274" rIns="68547" bIns="34274" anchor="ctr"/>
          <a:lstStyle/>
          <a:p>
            <a:endParaRPr lang="zh-CN" altLang="zh-CN" sz="1700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267" name="Arrow Bar"/>
          <p:cNvSpPr/>
          <p:nvPr/>
        </p:nvSpPr>
        <p:spPr bwMode="auto">
          <a:xfrm>
            <a:off x="3008313" y="915999"/>
            <a:ext cx="5373687" cy="11239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bevel/>
          </a:ln>
        </p:spPr>
        <p:txBody>
          <a:bodyPr lIns="68547" tIns="34274" rIns="68547" bIns="34274" anchor="ctr"/>
          <a:lstStyle/>
          <a:p>
            <a:endParaRPr lang="zh-CN" altLang="zh-CN" sz="1700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 useBgFill="1">
        <p:nvSpPr>
          <p:cNvPr id="11268" name="Left Mask"/>
          <p:cNvSpPr/>
          <p:nvPr/>
        </p:nvSpPr>
        <p:spPr bwMode="auto">
          <a:xfrm>
            <a:off x="0" y="1136650"/>
            <a:ext cx="3008313" cy="1123950"/>
          </a:xfrm>
          <a:prstGeom prst="rect">
            <a:avLst/>
          </a:prstGeom>
          <a:ln w="9525">
            <a:noFill/>
            <a:bevel/>
          </a:ln>
        </p:spPr>
        <p:txBody>
          <a:bodyPr lIns="68547" tIns="34274" rIns="68547" bIns="34274" anchor="ctr"/>
          <a:lstStyle/>
          <a:p>
            <a:endParaRPr lang="zh-CN" altLang="zh-CN" sz="1700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269" name="Circle Arrow"/>
          <p:cNvSpPr>
            <a:spLocks noEditPoints="1" noChangeArrowheads="1"/>
          </p:cNvSpPr>
          <p:nvPr/>
        </p:nvSpPr>
        <p:spPr bwMode="auto">
          <a:xfrm rot="5400000">
            <a:off x="7463632" y="1183493"/>
            <a:ext cx="630237" cy="631825"/>
          </a:xfrm>
          <a:custGeom>
            <a:avLst/>
            <a:gdLst>
              <a:gd name="T0" fmla="*/ 2147483647 w 224"/>
              <a:gd name="T1" fmla="*/ 0 h 224"/>
              <a:gd name="T2" fmla="*/ 0 w 224"/>
              <a:gd name="T3" fmla="*/ 2147483647 h 224"/>
              <a:gd name="T4" fmla="*/ 2147483647 w 224"/>
              <a:gd name="T5" fmla="*/ 2147483647 h 224"/>
              <a:gd name="T6" fmla="*/ 2147483647 w 224"/>
              <a:gd name="T7" fmla="*/ 2147483647 h 224"/>
              <a:gd name="T8" fmla="*/ 2147483647 w 224"/>
              <a:gd name="T9" fmla="*/ 0 h 224"/>
              <a:gd name="T10" fmla="*/ 2147483647 w 224"/>
              <a:gd name="T11" fmla="*/ 2147483647 h 224"/>
              <a:gd name="T12" fmla="*/ 2147483647 w 224"/>
              <a:gd name="T13" fmla="*/ 2147483647 h 224"/>
              <a:gd name="T14" fmla="*/ 2147483647 w 224"/>
              <a:gd name="T15" fmla="*/ 2147483647 h 224"/>
              <a:gd name="T16" fmla="*/ 2147483647 w 224"/>
              <a:gd name="T17" fmla="*/ 2147483647 h 224"/>
              <a:gd name="T18" fmla="*/ 2147483647 w 224"/>
              <a:gd name="T19" fmla="*/ 2147483647 h 224"/>
              <a:gd name="T20" fmla="*/ 2147483647 w 224"/>
              <a:gd name="T21" fmla="*/ 2147483647 h 224"/>
              <a:gd name="T22" fmla="*/ 2147483647 w 224"/>
              <a:gd name="T23" fmla="*/ 2147483647 h 224"/>
              <a:gd name="T24" fmla="*/ 2147483647 w 224"/>
              <a:gd name="T25" fmla="*/ 2147483647 h 224"/>
              <a:gd name="T26" fmla="*/ 2147483647 w 224"/>
              <a:gd name="T27" fmla="*/ 2147483647 h 224"/>
              <a:gd name="T28" fmla="*/ 2147483647 w 224"/>
              <a:gd name="T29" fmla="*/ 2147483647 h 224"/>
              <a:gd name="T30" fmla="*/ 2147483647 w 224"/>
              <a:gd name="T31" fmla="*/ 2147483647 h 224"/>
              <a:gd name="T32" fmla="*/ 2147483647 w 224"/>
              <a:gd name="T33" fmla="*/ 2147483647 h 224"/>
              <a:gd name="T34" fmla="*/ 2147483647 w 224"/>
              <a:gd name="T35" fmla="*/ 2147483647 h 224"/>
              <a:gd name="T36" fmla="*/ 2147483647 w 224"/>
              <a:gd name="T37" fmla="*/ 2147483647 h 224"/>
              <a:gd name="T38" fmla="*/ 2147483647 w 224"/>
              <a:gd name="T39" fmla="*/ 2147483647 h 224"/>
              <a:gd name="T40" fmla="*/ 2147483647 w 224"/>
              <a:gd name="T41" fmla="*/ 2147483647 h 22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24"/>
              <a:gd name="T64" fmla="*/ 0 h 224"/>
              <a:gd name="T65" fmla="*/ 224 w 224"/>
              <a:gd name="T66" fmla="*/ 224 h 22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bevel/>
          </a:ln>
        </p:spPr>
        <p:txBody>
          <a:bodyPr lIns="68550" tIns="34276" rIns="68550" bIns="34276"/>
          <a:lstStyle/>
          <a:p>
            <a:endParaRPr lang="zh-CN" altLang="zh-CN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270" name="TechEd Tile"/>
          <p:cNvSpPr/>
          <p:nvPr/>
        </p:nvSpPr>
        <p:spPr bwMode="auto">
          <a:xfrm>
            <a:off x="766763" y="915999"/>
            <a:ext cx="2119312" cy="1123950"/>
          </a:xfrm>
          <a:prstGeom prst="rect">
            <a:avLst/>
          </a:prstGeom>
          <a:solidFill>
            <a:schemeClr val="tx1"/>
          </a:solidFill>
          <a:ln w="9525">
            <a:noFill/>
            <a:bevel/>
          </a:ln>
        </p:spPr>
        <p:txBody>
          <a:bodyPr lIns="68547" tIns="34274" rIns="68547" bIns="34274" anchor="ctr"/>
          <a:lstStyle/>
          <a:p>
            <a:endParaRPr lang="zh-CN" altLang="zh-CN" sz="1700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11271" name="Group 7"/>
          <p:cNvGrpSpPr/>
          <p:nvPr/>
        </p:nvGrpSpPr>
        <p:grpSpPr bwMode="auto">
          <a:xfrm>
            <a:off x="762000" y="2168537"/>
            <a:ext cx="995363" cy="993775"/>
            <a:chOff x="0" y="0"/>
            <a:chExt cx="1325880" cy="1325880"/>
          </a:xfrm>
        </p:grpSpPr>
        <p:sp>
          <p:nvSpPr>
            <p:cNvPr id="11288" name="Rectangle 31"/>
            <p:cNvSpPr/>
            <p:nvPr/>
          </p:nvSpPr>
          <p:spPr bwMode="auto">
            <a:xfrm>
              <a:off x="0" y="0"/>
              <a:ext cx="1325880" cy="132588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endParaRPr lang="zh-CN" altLang="zh-CN" sz="170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289" name="Freeform 13"/>
            <p:cNvSpPr>
              <a:spLocks noEditPoints="1" noChangeArrowheads="1"/>
            </p:cNvSpPr>
            <p:nvPr/>
          </p:nvSpPr>
          <p:spPr bwMode="auto">
            <a:xfrm>
              <a:off x="244634" y="240665"/>
              <a:ext cx="836612" cy="841375"/>
            </a:xfrm>
            <a:custGeom>
              <a:avLst/>
              <a:gdLst>
                <a:gd name="T0" fmla="*/ 2147483647 w 223"/>
                <a:gd name="T1" fmla="*/ 2147483647 h 224"/>
                <a:gd name="T2" fmla="*/ 2147483647 w 223"/>
                <a:gd name="T3" fmla="*/ 2147483647 h 224"/>
                <a:gd name="T4" fmla="*/ 2147483647 w 223"/>
                <a:gd name="T5" fmla="*/ 2147483647 h 224"/>
                <a:gd name="T6" fmla="*/ 2147483647 w 223"/>
                <a:gd name="T7" fmla="*/ 2147483647 h 224"/>
                <a:gd name="T8" fmla="*/ 2147483647 w 223"/>
                <a:gd name="T9" fmla="*/ 0 h 224"/>
                <a:gd name="T10" fmla="*/ 2147483647 w 223"/>
                <a:gd name="T11" fmla="*/ 2147483647 h 224"/>
                <a:gd name="T12" fmla="*/ 2147483647 w 223"/>
                <a:gd name="T13" fmla="*/ 2147483647 h 224"/>
                <a:gd name="T14" fmla="*/ 2147483647 w 223"/>
                <a:gd name="T15" fmla="*/ 2147483647 h 224"/>
                <a:gd name="T16" fmla="*/ 2147483647 w 223"/>
                <a:gd name="T17" fmla="*/ 2147483647 h 224"/>
                <a:gd name="T18" fmla="*/ 0 w 223"/>
                <a:gd name="T19" fmla="*/ 2147483647 h 224"/>
                <a:gd name="T20" fmla="*/ 2147483647 w 223"/>
                <a:gd name="T21" fmla="*/ 2147483647 h 224"/>
                <a:gd name="T22" fmla="*/ 2147483647 w 223"/>
                <a:gd name="T23" fmla="*/ 2147483647 h 224"/>
                <a:gd name="T24" fmla="*/ 2147483647 w 223"/>
                <a:gd name="T25" fmla="*/ 2147483647 h 224"/>
                <a:gd name="T26" fmla="*/ 2147483647 w 223"/>
                <a:gd name="T27" fmla="*/ 2147483647 h 224"/>
                <a:gd name="T28" fmla="*/ 2147483647 w 223"/>
                <a:gd name="T29" fmla="*/ 2147483647 h 224"/>
                <a:gd name="T30" fmla="*/ 2147483647 w 223"/>
                <a:gd name="T31" fmla="*/ 2147483647 h 224"/>
                <a:gd name="T32" fmla="*/ 2147483647 w 223"/>
                <a:gd name="T33" fmla="*/ 2147483647 h 224"/>
                <a:gd name="T34" fmla="*/ 2147483647 w 223"/>
                <a:gd name="T35" fmla="*/ 2147483647 h 224"/>
                <a:gd name="T36" fmla="*/ 2147483647 w 223"/>
                <a:gd name="T37" fmla="*/ 2147483647 h 224"/>
                <a:gd name="T38" fmla="*/ 2147483647 w 223"/>
                <a:gd name="T39" fmla="*/ 2147483647 h 224"/>
                <a:gd name="T40" fmla="*/ 2147483647 w 223"/>
                <a:gd name="T41" fmla="*/ 2147483647 h 224"/>
                <a:gd name="T42" fmla="*/ 2147483647 w 223"/>
                <a:gd name="T43" fmla="*/ 2147483647 h 224"/>
                <a:gd name="T44" fmla="*/ 2147483647 w 223"/>
                <a:gd name="T45" fmla="*/ 2147483647 h 224"/>
                <a:gd name="T46" fmla="*/ 2147483647 w 223"/>
                <a:gd name="T47" fmla="*/ 2147483647 h 224"/>
                <a:gd name="T48" fmla="*/ 2147483647 w 223"/>
                <a:gd name="T49" fmla="*/ 2147483647 h 224"/>
                <a:gd name="T50" fmla="*/ 2147483647 w 223"/>
                <a:gd name="T51" fmla="*/ 2147483647 h 224"/>
                <a:gd name="T52" fmla="*/ 2147483647 w 223"/>
                <a:gd name="T53" fmla="*/ 2147483647 h 224"/>
                <a:gd name="T54" fmla="*/ 2147483647 w 223"/>
                <a:gd name="T55" fmla="*/ 2147483647 h 224"/>
                <a:gd name="T56" fmla="*/ 2147483647 w 223"/>
                <a:gd name="T57" fmla="*/ 2147483647 h 224"/>
                <a:gd name="T58" fmla="*/ 2147483647 w 223"/>
                <a:gd name="T59" fmla="*/ 2147483647 h 224"/>
                <a:gd name="T60" fmla="*/ 2147483647 w 223"/>
                <a:gd name="T61" fmla="*/ 2147483647 h 224"/>
                <a:gd name="T62" fmla="*/ 2147483647 w 223"/>
                <a:gd name="T63" fmla="*/ 2147483647 h 224"/>
                <a:gd name="T64" fmla="*/ 2147483647 w 223"/>
                <a:gd name="T65" fmla="*/ 2147483647 h 224"/>
                <a:gd name="T66" fmla="*/ 2147483647 w 223"/>
                <a:gd name="T67" fmla="*/ 2147483647 h 224"/>
                <a:gd name="T68" fmla="*/ 2147483647 w 223"/>
                <a:gd name="T69" fmla="*/ 2147483647 h 224"/>
                <a:gd name="T70" fmla="*/ 2147483647 w 223"/>
                <a:gd name="T71" fmla="*/ 2147483647 h 22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3"/>
                <a:gd name="T109" fmla="*/ 0 h 224"/>
                <a:gd name="T110" fmla="*/ 223 w 223"/>
                <a:gd name="T111" fmla="*/ 224 h 22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bevel/>
            </a:ln>
          </p:spPr>
          <p:txBody>
            <a:bodyPr/>
            <a:lstStyle/>
            <a:p>
              <a:endParaRPr lang="zh-CN" altLang="zh-CN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grpSp>
        <p:nvGrpSpPr>
          <p:cNvPr id="11272" name="Group 10"/>
          <p:cNvGrpSpPr/>
          <p:nvPr/>
        </p:nvGrpSpPr>
        <p:grpSpPr bwMode="auto">
          <a:xfrm>
            <a:off x="1885950" y="2168537"/>
            <a:ext cx="993775" cy="993775"/>
            <a:chOff x="0" y="0"/>
            <a:chExt cx="1325880" cy="1325880"/>
          </a:xfrm>
        </p:grpSpPr>
        <p:sp>
          <p:nvSpPr>
            <p:cNvPr id="11286" name="Rectangle 34"/>
            <p:cNvSpPr/>
            <p:nvPr/>
          </p:nvSpPr>
          <p:spPr bwMode="auto">
            <a:xfrm>
              <a:off x="0" y="0"/>
              <a:ext cx="1325880" cy="1325880"/>
            </a:xfrm>
            <a:prstGeom prst="rect">
              <a:avLst/>
            </a:prstGeom>
            <a:solidFill>
              <a:srgbClr val="ED5326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endParaRPr lang="zh-CN" altLang="zh-CN" sz="170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287" name="Freeform 30"/>
            <p:cNvSpPr>
              <a:spLocks noEditPoints="1" noChangeArrowheads="1"/>
            </p:cNvSpPr>
            <p:nvPr/>
          </p:nvSpPr>
          <p:spPr bwMode="auto">
            <a:xfrm>
              <a:off x="287496" y="240665"/>
              <a:ext cx="750888" cy="844550"/>
            </a:xfrm>
            <a:custGeom>
              <a:avLst/>
              <a:gdLst>
                <a:gd name="T0" fmla="*/ 2147483647 w 200"/>
                <a:gd name="T1" fmla="*/ 0 h 225"/>
                <a:gd name="T2" fmla="*/ 2147483647 w 200"/>
                <a:gd name="T3" fmla="*/ 2147483647 h 225"/>
                <a:gd name="T4" fmla="*/ 2147483647 w 200"/>
                <a:gd name="T5" fmla="*/ 2147483647 h 225"/>
                <a:gd name="T6" fmla="*/ 0 w 200"/>
                <a:gd name="T7" fmla="*/ 2147483647 h 225"/>
                <a:gd name="T8" fmla="*/ 2147483647 w 200"/>
                <a:gd name="T9" fmla="*/ 2147483647 h 225"/>
                <a:gd name="T10" fmla="*/ 2147483647 w 200"/>
                <a:gd name="T11" fmla="*/ 2147483647 h 225"/>
                <a:gd name="T12" fmla="*/ 0 w 200"/>
                <a:gd name="T13" fmla="*/ 2147483647 h 225"/>
                <a:gd name="T14" fmla="*/ 2147483647 w 200"/>
                <a:gd name="T15" fmla="*/ 2147483647 h 225"/>
                <a:gd name="T16" fmla="*/ 2147483647 w 200"/>
                <a:gd name="T17" fmla="*/ 2147483647 h 225"/>
                <a:gd name="T18" fmla="*/ 0 w 200"/>
                <a:gd name="T19" fmla="*/ 2147483647 h 225"/>
                <a:gd name="T20" fmla="*/ 2147483647 w 200"/>
                <a:gd name="T21" fmla="*/ 2147483647 h 225"/>
                <a:gd name="T22" fmla="*/ 2147483647 w 200"/>
                <a:gd name="T23" fmla="*/ 2147483647 h 225"/>
                <a:gd name="T24" fmla="*/ 2147483647 w 200"/>
                <a:gd name="T25" fmla="*/ 2147483647 h 225"/>
                <a:gd name="T26" fmla="*/ 2147483647 w 200"/>
                <a:gd name="T27" fmla="*/ 2147483647 h 225"/>
                <a:gd name="T28" fmla="*/ 2147483647 w 200"/>
                <a:gd name="T29" fmla="*/ 0 h 225"/>
                <a:gd name="T30" fmla="*/ 2147483647 w 200"/>
                <a:gd name="T31" fmla="*/ 2147483647 h 225"/>
                <a:gd name="T32" fmla="*/ 2147483647 w 200"/>
                <a:gd name="T33" fmla="*/ 2147483647 h 225"/>
                <a:gd name="T34" fmla="*/ 2147483647 w 200"/>
                <a:gd name="T35" fmla="*/ 2147483647 h 225"/>
                <a:gd name="T36" fmla="*/ 2147483647 w 200"/>
                <a:gd name="T37" fmla="*/ 2147483647 h 225"/>
                <a:gd name="T38" fmla="*/ 2147483647 w 200"/>
                <a:gd name="T39" fmla="*/ 2147483647 h 225"/>
                <a:gd name="T40" fmla="*/ 2147483647 w 200"/>
                <a:gd name="T41" fmla="*/ 2147483647 h 225"/>
                <a:gd name="T42" fmla="*/ 2147483647 w 200"/>
                <a:gd name="T43" fmla="*/ 2147483647 h 225"/>
                <a:gd name="T44" fmla="*/ 2147483647 w 200"/>
                <a:gd name="T45" fmla="*/ 2147483647 h 225"/>
                <a:gd name="T46" fmla="*/ 2147483647 w 200"/>
                <a:gd name="T47" fmla="*/ 2147483647 h 225"/>
                <a:gd name="T48" fmla="*/ 2147483647 w 200"/>
                <a:gd name="T49" fmla="*/ 2147483647 h 225"/>
                <a:gd name="T50" fmla="*/ 2147483647 w 200"/>
                <a:gd name="T51" fmla="*/ 2147483647 h 225"/>
                <a:gd name="T52" fmla="*/ 2147483647 w 200"/>
                <a:gd name="T53" fmla="*/ 2147483647 h 225"/>
                <a:gd name="T54" fmla="*/ 2147483647 w 200"/>
                <a:gd name="T55" fmla="*/ 2147483647 h 225"/>
                <a:gd name="T56" fmla="*/ 2147483647 w 200"/>
                <a:gd name="T57" fmla="*/ 2147483647 h 225"/>
                <a:gd name="T58" fmla="*/ 2147483647 w 200"/>
                <a:gd name="T59" fmla="*/ 2147483647 h 225"/>
                <a:gd name="T60" fmla="*/ 2147483647 w 200"/>
                <a:gd name="T61" fmla="*/ 2147483647 h 225"/>
                <a:gd name="T62" fmla="*/ 2147483647 w 200"/>
                <a:gd name="T63" fmla="*/ 2147483647 h 225"/>
                <a:gd name="T64" fmla="*/ 2147483647 w 200"/>
                <a:gd name="T65" fmla="*/ 2147483647 h 225"/>
                <a:gd name="T66" fmla="*/ 2147483647 w 200"/>
                <a:gd name="T67" fmla="*/ 2147483647 h 225"/>
                <a:gd name="T68" fmla="*/ 2147483647 w 200"/>
                <a:gd name="T69" fmla="*/ 2147483647 h 225"/>
                <a:gd name="T70" fmla="*/ 2147483647 w 200"/>
                <a:gd name="T71" fmla="*/ 2147483647 h 225"/>
                <a:gd name="T72" fmla="*/ 2147483647 w 200"/>
                <a:gd name="T73" fmla="*/ 2147483647 h 225"/>
                <a:gd name="T74" fmla="*/ 2147483647 w 200"/>
                <a:gd name="T75" fmla="*/ 2147483647 h 225"/>
                <a:gd name="T76" fmla="*/ 2147483647 w 200"/>
                <a:gd name="T77" fmla="*/ 2147483647 h 225"/>
                <a:gd name="T78" fmla="*/ 2147483647 w 200"/>
                <a:gd name="T79" fmla="*/ 2147483647 h 225"/>
                <a:gd name="T80" fmla="*/ 2147483647 w 200"/>
                <a:gd name="T81" fmla="*/ 2147483647 h 225"/>
                <a:gd name="T82" fmla="*/ 2147483647 w 200"/>
                <a:gd name="T83" fmla="*/ 2147483647 h 225"/>
                <a:gd name="T84" fmla="*/ 2147483647 w 200"/>
                <a:gd name="T85" fmla="*/ 2147483647 h 225"/>
                <a:gd name="T86" fmla="*/ 2147483647 w 200"/>
                <a:gd name="T87" fmla="*/ 2147483647 h 225"/>
                <a:gd name="T88" fmla="*/ 2147483647 w 200"/>
                <a:gd name="T89" fmla="*/ 2147483647 h 225"/>
                <a:gd name="T90" fmla="*/ 2147483647 w 200"/>
                <a:gd name="T91" fmla="*/ 2147483647 h 225"/>
                <a:gd name="T92" fmla="*/ 2147483647 w 200"/>
                <a:gd name="T93" fmla="*/ 2147483647 h 225"/>
                <a:gd name="T94" fmla="*/ 2147483647 w 200"/>
                <a:gd name="T95" fmla="*/ 2147483647 h 225"/>
                <a:gd name="T96" fmla="*/ 2147483647 w 200"/>
                <a:gd name="T97" fmla="*/ 2147483647 h 225"/>
                <a:gd name="T98" fmla="*/ 2147483647 w 200"/>
                <a:gd name="T99" fmla="*/ 2147483647 h 225"/>
                <a:gd name="T100" fmla="*/ 2147483647 w 200"/>
                <a:gd name="T101" fmla="*/ 2147483647 h 225"/>
                <a:gd name="T102" fmla="*/ 2147483647 w 200"/>
                <a:gd name="T103" fmla="*/ 2147483647 h 225"/>
                <a:gd name="T104" fmla="*/ 2147483647 w 200"/>
                <a:gd name="T105" fmla="*/ 2147483647 h 22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00"/>
                <a:gd name="T160" fmla="*/ 0 h 225"/>
                <a:gd name="T161" fmla="*/ 200 w 200"/>
                <a:gd name="T162" fmla="*/ 225 h 22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bevel/>
            </a:ln>
          </p:spPr>
          <p:txBody>
            <a:bodyPr/>
            <a:lstStyle/>
            <a:p>
              <a:endParaRPr lang="zh-CN" altLang="zh-CN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grpSp>
        <p:nvGrpSpPr>
          <p:cNvPr id="11273" name="Group 13"/>
          <p:cNvGrpSpPr/>
          <p:nvPr/>
        </p:nvGrpSpPr>
        <p:grpSpPr bwMode="auto">
          <a:xfrm>
            <a:off x="762000" y="3290899"/>
            <a:ext cx="995363" cy="995363"/>
            <a:chOff x="0" y="0"/>
            <a:chExt cx="1325880" cy="1325880"/>
          </a:xfrm>
        </p:grpSpPr>
        <p:sp>
          <p:nvSpPr>
            <p:cNvPr id="11284" name="Rectangle 37"/>
            <p:cNvSpPr/>
            <p:nvPr/>
          </p:nvSpPr>
          <p:spPr bwMode="auto">
            <a:xfrm>
              <a:off x="0" y="0"/>
              <a:ext cx="1325880" cy="1325880"/>
            </a:xfrm>
            <a:prstGeom prst="rect">
              <a:avLst/>
            </a:prstGeom>
            <a:solidFill>
              <a:srgbClr val="3BBEB4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endParaRPr lang="zh-CN" altLang="zh-CN" sz="170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285" name="Freeform 13"/>
            <p:cNvSpPr>
              <a:spLocks noEditPoints="1" noChangeArrowheads="1"/>
            </p:cNvSpPr>
            <p:nvPr/>
          </p:nvSpPr>
          <p:spPr bwMode="auto">
            <a:xfrm>
              <a:off x="435631" y="243840"/>
              <a:ext cx="454618" cy="838200"/>
            </a:xfrm>
            <a:custGeom>
              <a:avLst/>
              <a:gdLst>
                <a:gd name="T0" fmla="*/ 2147483647 w 122"/>
                <a:gd name="T1" fmla="*/ 2147483647 h 225"/>
                <a:gd name="T2" fmla="*/ 2147483647 w 122"/>
                <a:gd name="T3" fmla="*/ 2147483647 h 225"/>
                <a:gd name="T4" fmla="*/ 2147483647 w 122"/>
                <a:gd name="T5" fmla="*/ 2147483647 h 225"/>
                <a:gd name="T6" fmla="*/ 2147483647 w 122"/>
                <a:gd name="T7" fmla="*/ 2147483647 h 225"/>
                <a:gd name="T8" fmla="*/ 2147483647 w 122"/>
                <a:gd name="T9" fmla="*/ 2147483647 h 225"/>
                <a:gd name="T10" fmla="*/ 2147483647 w 122"/>
                <a:gd name="T11" fmla="*/ 2147483647 h 225"/>
                <a:gd name="T12" fmla="*/ 2147483647 w 122"/>
                <a:gd name="T13" fmla="*/ 2147483647 h 225"/>
                <a:gd name="T14" fmla="*/ 2147483647 w 122"/>
                <a:gd name="T15" fmla="*/ 2147483647 h 225"/>
                <a:gd name="T16" fmla="*/ 2147483647 w 122"/>
                <a:gd name="T17" fmla="*/ 2147483647 h 225"/>
                <a:gd name="T18" fmla="*/ 2147483647 w 122"/>
                <a:gd name="T19" fmla="*/ 2147483647 h 225"/>
                <a:gd name="T20" fmla="*/ 2147483647 w 122"/>
                <a:gd name="T21" fmla="*/ 2147483647 h 225"/>
                <a:gd name="T22" fmla="*/ 2147483647 w 122"/>
                <a:gd name="T23" fmla="*/ 2147483647 h 225"/>
                <a:gd name="T24" fmla="*/ 2147483647 w 122"/>
                <a:gd name="T25" fmla="*/ 2147483647 h 225"/>
                <a:gd name="T26" fmla="*/ 2147483647 w 122"/>
                <a:gd name="T27" fmla="*/ 2147483647 h 225"/>
                <a:gd name="T28" fmla="*/ 2147483647 w 122"/>
                <a:gd name="T29" fmla="*/ 2147483647 h 225"/>
                <a:gd name="T30" fmla="*/ 2147483647 w 122"/>
                <a:gd name="T31" fmla="*/ 2147483647 h 225"/>
                <a:gd name="T32" fmla="*/ 2147483647 w 122"/>
                <a:gd name="T33" fmla="*/ 2147483647 h 225"/>
                <a:gd name="T34" fmla="*/ 2147483647 w 122"/>
                <a:gd name="T35" fmla="*/ 2147483647 h 225"/>
                <a:gd name="T36" fmla="*/ 2147483647 w 122"/>
                <a:gd name="T37" fmla="*/ 2147483647 h 225"/>
                <a:gd name="T38" fmla="*/ 2147483647 w 122"/>
                <a:gd name="T39" fmla="*/ 2147483647 h 225"/>
                <a:gd name="T40" fmla="*/ 2147483647 w 122"/>
                <a:gd name="T41" fmla="*/ 2147483647 h 225"/>
                <a:gd name="T42" fmla="*/ 2147483647 w 122"/>
                <a:gd name="T43" fmla="*/ 2147483647 h 225"/>
                <a:gd name="T44" fmla="*/ 2147483647 w 122"/>
                <a:gd name="T45" fmla="*/ 2147483647 h 225"/>
                <a:gd name="T46" fmla="*/ 2147483647 w 122"/>
                <a:gd name="T47" fmla="*/ 2147483647 h 225"/>
                <a:gd name="T48" fmla="*/ 2147483647 w 122"/>
                <a:gd name="T49" fmla="*/ 2147483647 h 225"/>
                <a:gd name="T50" fmla="*/ 2147483647 w 122"/>
                <a:gd name="T51" fmla="*/ 2147483647 h 225"/>
                <a:gd name="T52" fmla="*/ 2147483647 w 122"/>
                <a:gd name="T53" fmla="*/ 2147483647 h 225"/>
                <a:gd name="T54" fmla="*/ 2147483647 w 122"/>
                <a:gd name="T55" fmla="*/ 2147483647 h 225"/>
                <a:gd name="T56" fmla="*/ 2147483647 w 122"/>
                <a:gd name="T57" fmla="*/ 2147483647 h 225"/>
                <a:gd name="T58" fmla="*/ 2147483647 w 122"/>
                <a:gd name="T59" fmla="*/ 2147483647 h 225"/>
                <a:gd name="T60" fmla="*/ 2147483647 w 122"/>
                <a:gd name="T61" fmla="*/ 2147483647 h 225"/>
                <a:gd name="T62" fmla="*/ 2147483647 w 122"/>
                <a:gd name="T63" fmla="*/ 2147483647 h 225"/>
                <a:gd name="T64" fmla="*/ 2147483647 w 122"/>
                <a:gd name="T65" fmla="*/ 2147483647 h 225"/>
                <a:gd name="T66" fmla="*/ 2147483647 w 122"/>
                <a:gd name="T67" fmla="*/ 2147483647 h 225"/>
                <a:gd name="T68" fmla="*/ 2147483647 w 122"/>
                <a:gd name="T69" fmla="*/ 2147483647 h 225"/>
                <a:gd name="T70" fmla="*/ 2147483647 w 122"/>
                <a:gd name="T71" fmla="*/ 2147483647 h 225"/>
                <a:gd name="T72" fmla="*/ 2147483647 w 122"/>
                <a:gd name="T73" fmla="*/ 2147483647 h 225"/>
                <a:gd name="T74" fmla="*/ 2147483647 w 122"/>
                <a:gd name="T75" fmla="*/ 2147483647 h 225"/>
                <a:gd name="T76" fmla="*/ 2147483647 w 122"/>
                <a:gd name="T77" fmla="*/ 2147483647 h 225"/>
                <a:gd name="T78" fmla="*/ 2147483647 w 122"/>
                <a:gd name="T79" fmla="*/ 2147483647 h 225"/>
                <a:gd name="T80" fmla="*/ 2147483647 w 122"/>
                <a:gd name="T81" fmla="*/ 2147483647 h 225"/>
                <a:gd name="T82" fmla="*/ 2147483647 w 122"/>
                <a:gd name="T83" fmla="*/ 2147483647 h 225"/>
                <a:gd name="T84" fmla="*/ 2147483647 w 122"/>
                <a:gd name="T85" fmla="*/ 2147483647 h 225"/>
                <a:gd name="T86" fmla="*/ 2147483647 w 122"/>
                <a:gd name="T87" fmla="*/ 2147483647 h 225"/>
                <a:gd name="T88" fmla="*/ 2147483647 w 122"/>
                <a:gd name="T89" fmla="*/ 2147483647 h 225"/>
                <a:gd name="T90" fmla="*/ 2147483647 w 122"/>
                <a:gd name="T91" fmla="*/ 2147483647 h 225"/>
                <a:gd name="T92" fmla="*/ 2147483647 w 122"/>
                <a:gd name="T93" fmla="*/ 2147483647 h 225"/>
                <a:gd name="T94" fmla="*/ 2147483647 w 122"/>
                <a:gd name="T95" fmla="*/ 2147483647 h 225"/>
                <a:gd name="T96" fmla="*/ 2147483647 w 122"/>
                <a:gd name="T97" fmla="*/ 2147483647 h 225"/>
                <a:gd name="T98" fmla="*/ 2147483647 w 122"/>
                <a:gd name="T99" fmla="*/ 2147483647 h 225"/>
                <a:gd name="T100" fmla="*/ 2147483647 w 122"/>
                <a:gd name="T101" fmla="*/ 2147483647 h 225"/>
                <a:gd name="T102" fmla="*/ 2147483647 w 122"/>
                <a:gd name="T103" fmla="*/ 2147483647 h 225"/>
                <a:gd name="T104" fmla="*/ 2147483647 w 122"/>
                <a:gd name="T105" fmla="*/ 2147483647 h 225"/>
                <a:gd name="T106" fmla="*/ 2147483647 w 122"/>
                <a:gd name="T107" fmla="*/ 2147483647 h 225"/>
                <a:gd name="T108" fmla="*/ 2147483647 w 122"/>
                <a:gd name="T109" fmla="*/ 2147483647 h 225"/>
                <a:gd name="T110" fmla="*/ 2147483647 w 122"/>
                <a:gd name="T111" fmla="*/ 2147483647 h 225"/>
                <a:gd name="T112" fmla="*/ 2147483647 w 122"/>
                <a:gd name="T113" fmla="*/ 2147483647 h 225"/>
                <a:gd name="T114" fmla="*/ 2147483647 w 122"/>
                <a:gd name="T115" fmla="*/ 2147483647 h 225"/>
                <a:gd name="T116" fmla="*/ 2147483647 w 122"/>
                <a:gd name="T117" fmla="*/ 2147483647 h 225"/>
                <a:gd name="T118" fmla="*/ 2147483647 w 122"/>
                <a:gd name="T119" fmla="*/ 2147483647 h 225"/>
                <a:gd name="T120" fmla="*/ 2147483647 w 122"/>
                <a:gd name="T121" fmla="*/ 2147483647 h 225"/>
                <a:gd name="T122" fmla="*/ 2147483647 w 122"/>
                <a:gd name="T123" fmla="*/ 2147483647 h 2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"/>
                <a:gd name="T187" fmla="*/ 0 h 225"/>
                <a:gd name="T188" fmla="*/ 122 w 122"/>
                <a:gd name="T189" fmla="*/ 225 h 2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bevel/>
            </a:ln>
          </p:spPr>
          <p:txBody>
            <a:bodyPr/>
            <a:lstStyle/>
            <a:p>
              <a:endParaRPr lang="zh-CN" altLang="zh-CN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grpSp>
        <p:nvGrpSpPr>
          <p:cNvPr id="11274" name="Group 16"/>
          <p:cNvGrpSpPr/>
          <p:nvPr/>
        </p:nvGrpSpPr>
        <p:grpSpPr bwMode="auto">
          <a:xfrm>
            <a:off x="1885950" y="3290899"/>
            <a:ext cx="993775" cy="995363"/>
            <a:chOff x="0" y="0"/>
            <a:chExt cx="1325880" cy="1325880"/>
          </a:xfrm>
        </p:grpSpPr>
        <p:sp>
          <p:nvSpPr>
            <p:cNvPr id="11282" name="Rectangle 40"/>
            <p:cNvSpPr/>
            <p:nvPr/>
          </p:nvSpPr>
          <p:spPr bwMode="auto">
            <a:xfrm>
              <a:off x="0" y="0"/>
              <a:ext cx="1325880" cy="1325880"/>
            </a:xfrm>
            <a:prstGeom prst="rect">
              <a:avLst/>
            </a:prstGeom>
            <a:solidFill>
              <a:srgbClr val="94C949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endParaRPr lang="zh-CN" altLang="zh-CN" sz="170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283" name="Freeform 73"/>
            <p:cNvSpPr>
              <a:spLocks noEditPoints="1" noChangeArrowheads="1"/>
            </p:cNvSpPr>
            <p:nvPr/>
          </p:nvSpPr>
          <p:spPr bwMode="auto">
            <a:xfrm>
              <a:off x="243394" y="379483"/>
              <a:ext cx="839092" cy="702557"/>
            </a:xfrm>
            <a:custGeom>
              <a:avLst/>
              <a:gdLst>
                <a:gd name="T0" fmla="*/ 2147483647 w 411"/>
                <a:gd name="T1" fmla="*/ 2147483647 h 344"/>
                <a:gd name="T2" fmla="*/ 2147483647 w 411"/>
                <a:gd name="T3" fmla="*/ 2147483647 h 344"/>
                <a:gd name="T4" fmla="*/ 2147483647 w 411"/>
                <a:gd name="T5" fmla="*/ 2147483647 h 344"/>
                <a:gd name="T6" fmla="*/ 2147483647 w 411"/>
                <a:gd name="T7" fmla="*/ 2147483647 h 344"/>
                <a:gd name="T8" fmla="*/ 0 w 411"/>
                <a:gd name="T9" fmla="*/ 2147483647 h 344"/>
                <a:gd name="T10" fmla="*/ 0 w 411"/>
                <a:gd name="T11" fmla="*/ 2147483647 h 344"/>
                <a:gd name="T12" fmla="*/ 2147483647 w 411"/>
                <a:gd name="T13" fmla="*/ 0 h 344"/>
                <a:gd name="T14" fmla="*/ 2147483647 w 411"/>
                <a:gd name="T15" fmla="*/ 0 h 344"/>
                <a:gd name="T16" fmla="*/ 2147483647 w 411"/>
                <a:gd name="T17" fmla="*/ 2147483647 h 344"/>
                <a:gd name="T18" fmla="*/ 2147483647 w 411"/>
                <a:gd name="T19" fmla="*/ 2147483647 h 344"/>
                <a:gd name="T20" fmla="*/ 2147483647 w 411"/>
                <a:gd name="T21" fmla="*/ 2147483647 h 344"/>
                <a:gd name="T22" fmla="*/ 2147483647 w 411"/>
                <a:gd name="T23" fmla="*/ 2147483647 h 344"/>
                <a:gd name="T24" fmla="*/ 2147483647 w 411"/>
                <a:gd name="T25" fmla="*/ 2147483647 h 344"/>
                <a:gd name="T26" fmla="*/ 2147483647 w 411"/>
                <a:gd name="T27" fmla="*/ 2147483647 h 344"/>
                <a:gd name="T28" fmla="*/ 2147483647 w 411"/>
                <a:gd name="T29" fmla="*/ 2147483647 h 344"/>
                <a:gd name="T30" fmla="*/ 2147483647 w 411"/>
                <a:gd name="T31" fmla="*/ 2147483647 h 344"/>
                <a:gd name="T32" fmla="*/ 2147483647 w 411"/>
                <a:gd name="T33" fmla="*/ 2147483647 h 344"/>
                <a:gd name="T34" fmla="*/ 2147483647 w 411"/>
                <a:gd name="T35" fmla="*/ 2147483647 h 344"/>
                <a:gd name="T36" fmla="*/ 2147483647 w 411"/>
                <a:gd name="T37" fmla="*/ 2147483647 h 344"/>
                <a:gd name="T38" fmla="*/ 2147483647 w 411"/>
                <a:gd name="T39" fmla="*/ 2147483647 h 344"/>
                <a:gd name="T40" fmla="*/ 2147483647 w 411"/>
                <a:gd name="T41" fmla="*/ 2147483647 h 344"/>
                <a:gd name="T42" fmla="*/ 2147483647 w 411"/>
                <a:gd name="T43" fmla="*/ 2147483647 h 344"/>
                <a:gd name="T44" fmla="*/ 2147483647 w 411"/>
                <a:gd name="T45" fmla="*/ 2147483647 h 344"/>
                <a:gd name="T46" fmla="*/ 2147483647 w 411"/>
                <a:gd name="T47" fmla="*/ 2147483647 h 344"/>
                <a:gd name="T48" fmla="*/ 2147483647 w 411"/>
                <a:gd name="T49" fmla="*/ 2147483647 h 344"/>
                <a:gd name="T50" fmla="*/ 2147483647 w 411"/>
                <a:gd name="T51" fmla="*/ 2147483647 h 344"/>
                <a:gd name="T52" fmla="*/ 2147483647 w 411"/>
                <a:gd name="T53" fmla="*/ 2147483647 h 34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11"/>
                <a:gd name="T82" fmla="*/ 0 h 344"/>
                <a:gd name="T83" fmla="*/ 411 w 411"/>
                <a:gd name="T84" fmla="*/ 344 h 34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bevel/>
            </a:ln>
          </p:spPr>
          <p:txBody>
            <a:bodyPr/>
            <a:lstStyle/>
            <a:p>
              <a:endParaRPr lang="zh-CN" altLang="zh-CN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sp>
        <p:nvSpPr>
          <p:cNvPr id="11279" name="Title 1"/>
          <p:cNvSpPr>
            <a:spLocks noGrp="1" noChangeArrowheads="1"/>
          </p:cNvSpPr>
          <p:nvPr>
            <p:ph type="ctrTitle" idx="4294967295"/>
          </p:nvPr>
        </p:nvSpPr>
        <p:spPr>
          <a:xfrm>
            <a:off x="3059832" y="2355726"/>
            <a:ext cx="5117381" cy="645241"/>
          </a:xfrm>
        </p:spPr>
        <p:txBody>
          <a:bodyPr anchor="ctr"/>
          <a:lstStyle/>
          <a:p>
            <a:pPr marL="0" indent="0" algn="ctr" eaLnBrk="1" hangingPunct="1"/>
            <a:r>
              <a:rPr lang="zh-CN" altLang="en-US" sz="3000" b="1" dirty="0" smtClean="0">
                <a:solidFill>
                  <a:srgbClr val="0070C0"/>
                </a:solidFill>
                <a:ea typeface="宋体" panose="02010600030101010101" pitchFamily="2" charset="-122"/>
                <a:sym typeface="Segoe UI" panose="020B0502040204020203" pitchFamily="34" charset="0"/>
              </a:rPr>
              <a:t>近期工作汇报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22821" y="931349"/>
            <a:ext cx="1081890" cy="1081890"/>
          </a:xfrm>
          <a:prstGeom prst="rect">
            <a:avLst/>
          </a:prstGeom>
        </p:spPr>
      </p:pic>
      <p:sp>
        <p:nvSpPr>
          <p:cNvPr id="25" name="Subtitle 2"/>
          <p:cNvSpPr txBox="1">
            <a:spLocks noChangeArrowheads="1"/>
          </p:cNvSpPr>
          <p:nvPr/>
        </p:nvSpPr>
        <p:spPr bwMode="auto">
          <a:xfrm>
            <a:off x="6444208" y="3435846"/>
            <a:ext cx="1742523" cy="6647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>
            <a:lvl1pPr marL="346075" indent="-346075" algn="l" defTabSz="685800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  <a:sym typeface="Segoe UI" panose="020B0502040204020203" pitchFamily="34" charset="0"/>
              </a:defRPr>
            </a:lvl1pPr>
            <a:lvl2pPr marL="641350" indent="-295275" algn="l" defTabSz="685800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21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2pPr>
            <a:lvl3pPr marL="942975" indent="-301625" algn="l" defTabSz="685800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3pPr>
            <a:lvl4pPr marL="1203325" indent="-259080" algn="l" defTabSz="685800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4pPr>
            <a:lvl5pPr marL="1456055" indent="-252730" algn="l" defTabSz="685800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5pPr>
            <a:lvl6pPr marL="1913255" indent="-252730" algn="l" defTabSz="6858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6pPr>
            <a:lvl7pPr marL="2370455" indent="-252730" algn="l" defTabSz="6858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7pPr>
            <a:lvl8pPr marL="2827655" indent="-252730" algn="l" defTabSz="6858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8pPr>
            <a:lvl9pPr marL="3284855" indent="-252730" algn="l" defTabSz="6858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Blip>
                <a:blip r:embed="rId5"/>
              </a:buBlip>
              <a:defRPr sz="1500">
                <a:solidFill>
                  <a:schemeClr val="tx1"/>
                </a:solidFill>
                <a:latin typeface="+mn-lt"/>
                <a:cs typeface="+mn-cs"/>
                <a:sym typeface="Segoe UI" panose="020B0502040204020203" pitchFamily="34" charset="0"/>
              </a:defRPr>
            </a:lvl9pPr>
          </a:lstStyle>
          <a:p>
            <a:pPr marL="0" indent="0" eaLnBrk="1" hangingPunct="1">
              <a:spcBef>
                <a:spcPct val="0"/>
              </a:spcBef>
              <a:buSzPct val="105000"/>
              <a:buFontTx/>
              <a:buNone/>
            </a:pPr>
            <a:r>
              <a:rPr lang="zh-CN" altLang="en-US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汇报人：王博阳</a:t>
            </a:r>
            <a:endParaRPr lang="en-US" altLang="zh-CN" sz="1600" kern="0" dirty="0" smtClean="0">
              <a:solidFill>
                <a:srgbClr val="0070C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宋体" panose="02010600030101010101" pitchFamily="2" charset="-122"/>
            </a:endParaRPr>
          </a:p>
          <a:p>
            <a:pPr marL="0" indent="0" eaLnBrk="1" hangingPunct="1">
              <a:spcBef>
                <a:spcPct val="0"/>
              </a:spcBef>
              <a:buSzPct val="105000"/>
              <a:buFontTx/>
              <a:buNone/>
            </a:pPr>
            <a:endParaRPr lang="en-US" altLang="zh-CN" sz="1600" kern="0" dirty="0" smtClean="0">
              <a:solidFill>
                <a:srgbClr val="0070C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宋体" panose="02010600030101010101" pitchFamily="2" charset="-122"/>
            </a:endParaRPr>
          </a:p>
          <a:p>
            <a:pPr marL="0" indent="0" eaLnBrk="1" hangingPunct="1">
              <a:spcBef>
                <a:spcPct val="0"/>
              </a:spcBef>
              <a:buSzPct val="105000"/>
              <a:buFontTx/>
              <a:buNone/>
            </a:pPr>
            <a:r>
              <a:rPr lang="en-US" altLang="zh-CN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2018</a:t>
            </a:r>
            <a:r>
              <a:rPr lang="zh-CN" altLang="en-US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年</a:t>
            </a:r>
            <a:r>
              <a:rPr lang="en-US" altLang="zh-CN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9</a:t>
            </a:r>
            <a:r>
              <a:rPr lang="zh-CN" altLang="en-US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月</a:t>
            </a:r>
            <a:r>
              <a:rPr lang="en-US" altLang="zh-CN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21</a:t>
            </a:r>
            <a:r>
              <a:rPr lang="zh-CN" altLang="en-US" sz="1600" kern="0" dirty="0" smtClean="0">
                <a:solidFill>
                  <a:srgbClr val="0070C0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宋体" panose="02010600030101010101" pitchFamily="2" charset="-122"/>
              </a:rPr>
              <a:t>日</a:t>
            </a:r>
            <a:endParaRPr lang="en-US" altLang="zh-CN" sz="1600" kern="0" dirty="0" smtClean="0">
              <a:solidFill>
                <a:srgbClr val="0070C0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宋体" panose="02010600030101010101" pitchFamily="2" charset="-122"/>
            </a:endParaRPr>
          </a:p>
        </p:txBody>
      </p:sp>
    </p:spTree>
    <p:custDataLst>
      <p:tags r:id="rId1"/>
    </p:custData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r>
              <a:rPr lang="zh-CN" altLang="en-US" b="1" dirty="0">
                <a:solidFill>
                  <a:schemeClr val="tx1"/>
                </a:solidFill>
                <a:ea typeface="宋体" panose="02010600030101010101" pitchFamily="2" charset="-122"/>
              </a:rPr>
              <a:t>完成的主要工作</a:t>
            </a:r>
            <a:endParaRPr lang="zh-CN" altLang="en-US" b="1" dirty="0" smtClean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pic>
        <p:nvPicPr>
          <p:cNvPr id="5734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635646"/>
            <a:ext cx="720080" cy="99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4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15616" y="1635646"/>
            <a:ext cx="72008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4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7704" y="1635646"/>
            <a:ext cx="72008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45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3528" y="2715766"/>
            <a:ext cx="72008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46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15616" y="2715766"/>
            <a:ext cx="72008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47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07704" y="2715766"/>
            <a:ext cx="72008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611560" y="3939902"/>
            <a:ext cx="1944216" cy="5170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altLang="zh-CN" sz="2400" dirty="0" smtClean="0">
                <a:solidFill>
                  <a:schemeClr val="tx1">
                    <a:alpha val="99000"/>
                  </a:schemeClr>
                </a:solidFill>
              </a:rPr>
              <a:t>AR dataset</a:t>
            </a:r>
            <a:endParaRPr lang="zh-CN" altLang="en-US" sz="2400" dirty="0" err="1" smtClean="0">
              <a:solidFill>
                <a:schemeClr val="tx1">
                  <a:alpha val="99000"/>
                </a:schemeClr>
              </a:solidFill>
            </a:endParaRPr>
          </a:p>
        </p:txBody>
      </p:sp>
      <p:pic>
        <p:nvPicPr>
          <p:cNvPr id="573451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79912" y="1059582"/>
            <a:ext cx="4324350" cy="352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r>
              <a:rPr lang="zh-CN" altLang="en-US" b="1" dirty="0">
                <a:solidFill>
                  <a:schemeClr val="tx1"/>
                </a:solidFill>
                <a:ea typeface="宋体" panose="02010600030101010101" pitchFamily="2" charset="-122"/>
              </a:rPr>
              <a:t>完成的主要工作</a:t>
            </a:r>
            <a:endParaRPr lang="zh-CN" altLang="en-US" b="1" dirty="0" smtClean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3528" y="3579862"/>
            <a:ext cx="2304256" cy="5170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altLang="zh-CN" sz="2400" dirty="0" err="1" smtClean="0">
                <a:solidFill>
                  <a:schemeClr val="tx1">
                    <a:alpha val="99000"/>
                  </a:schemeClr>
                </a:solidFill>
              </a:rPr>
              <a:t>YaleB</a:t>
            </a:r>
            <a:r>
              <a:rPr lang="en-US" altLang="zh-CN" sz="2400" dirty="0" smtClean="0">
                <a:solidFill>
                  <a:schemeClr val="tx1">
                    <a:alpha val="99000"/>
                  </a:schemeClr>
                </a:solidFill>
              </a:rPr>
              <a:t> dataset</a:t>
            </a:r>
            <a:endParaRPr lang="zh-CN" altLang="en-US" sz="2400" dirty="0" err="1" smtClean="0">
              <a:solidFill>
                <a:schemeClr val="tx1">
                  <a:alpha val="99000"/>
                </a:schemeClr>
              </a:solidFill>
            </a:endParaRPr>
          </a:p>
        </p:txBody>
      </p:sp>
      <p:pic>
        <p:nvPicPr>
          <p:cNvPr id="5928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131590"/>
            <a:ext cx="864096" cy="1070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1131590"/>
            <a:ext cx="864096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79712" y="1131590"/>
            <a:ext cx="864096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2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7504" y="2283718"/>
            <a:ext cx="864096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3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43608" y="2283718"/>
            <a:ext cx="864096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4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79712" y="2283718"/>
            <a:ext cx="850776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2905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779912" y="1131590"/>
            <a:ext cx="3978040" cy="3212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r>
              <a:rPr lang="zh-CN" altLang="en-US" b="1" dirty="0">
                <a:solidFill>
                  <a:schemeClr val="tx1"/>
                </a:solidFill>
                <a:ea typeface="宋体" panose="02010600030101010101" pitchFamily="2" charset="-122"/>
              </a:rPr>
              <a:t>完成的主要工作</a:t>
            </a:r>
            <a:endParaRPr lang="zh-CN" altLang="en-US" b="1" dirty="0" smtClean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pic>
        <p:nvPicPr>
          <p:cNvPr id="5949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699542"/>
            <a:ext cx="4981575" cy="382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2435448" y="4551174"/>
            <a:ext cx="2928640" cy="4616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altLang="zh-CN" sz="2000" dirty="0" err="1" smtClean="0">
                <a:solidFill>
                  <a:schemeClr val="tx1">
                    <a:alpha val="99000"/>
                  </a:schemeClr>
                </a:solidFill>
              </a:rPr>
              <a:t>Minist</a:t>
            </a:r>
            <a:r>
              <a:rPr lang="zh-CN" altLang="en-US" sz="2000" dirty="0" smtClean="0">
                <a:solidFill>
                  <a:schemeClr val="tx1">
                    <a:alpha val="99000"/>
                  </a:schemeClr>
                </a:solidFill>
              </a:rPr>
              <a:t>数据库结果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r>
              <a:rPr lang="zh-CN" altLang="en-US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研究结论与展望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59632" y="1635646"/>
            <a:ext cx="5544616" cy="1292662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2000" dirty="0" smtClean="0">
                <a:solidFill>
                  <a:schemeClr val="tx1">
                    <a:alpha val="99000"/>
                  </a:schemeClr>
                </a:solidFill>
              </a:rPr>
              <a:t>       在一些人脸数据库上</a:t>
            </a:r>
            <a:r>
              <a:rPr lang="en-US" altLang="zh-CN" sz="2000" dirty="0" err="1" smtClean="0">
                <a:solidFill>
                  <a:schemeClr val="tx1">
                    <a:alpha val="99000"/>
                  </a:schemeClr>
                </a:solidFill>
              </a:rPr>
              <a:t>KNMFNet</a:t>
            </a:r>
            <a:r>
              <a:rPr lang="zh-CN" altLang="en-US" sz="2000" dirty="0" smtClean="0">
                <a:solidFill>
                  <a:schemeClr val="tx1">
                    <a:alpha val="99000"/>
                  </a:schemeClr>
                </a:solidFill>
              </a:rPr>
              <a:t>与</a:t>
            </a:r>
            <a:r>
              <a:rPr lang="en-US" altLang="zh-CN" sz="2000" dirty="0" err="1" smtClean="0">
                <a:solidFill>
                  <a:schemeClr val="tx1">
                    <a:alpha val="99000"/>
                  </a:schemeClr>
                </a:solidFill>
              </a:rPr>
              <a:t>PCANet</a:t>
            </a:r>
            <a:r>
              <a:rPr lang="zh-CN" altLang="en-US" sz="2000" dirty="0" smtClean="0">
                <a:solidFill>
                  <a:schemeClr val="tx1">
                    <a:alpha val="99000"/>
                  </a:schemeClr>
                </a:solidFill>
              </a:rPr>
              <a:t>相比确实有提高。但其运算效率较慢，没有达到想象中的精度，下一步将从调试核函数参数和增加数据库入手以期取得更好的效果。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652241" y="2110085"/>
            <a:ext cx="383951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63000"/>
                        <a:sat val="105000"/>
                      </a:schemeClr>
                    </a:gs>
                    <a:gs pos="90000">
                      <a:schemeClr val="accent1">
                        <a:shade val="50000"/>
                        <a:satMod val="100000"/>
                      </a:schemeClr>
                    </a:gs>
                  </a:gsLst>
                  <a:lin ang="5400000"/>
                </a:gra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</a:rPr>
              <a:t>Thank  you</a:t>
            </a:r>
            <a:endParaRPr lang="zh-CN" altLang="en-US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63000"/>
                      <a:sat val="105000"/>
                    </a:schemeClr>
                  </a:gs>
                  <a:gs pos="90000">
                    <a:schemeClr val="accent1">
                      <a:shade val="50000"/>
                      <a:satMod val="100000"/>
                    </a:schemeClr>
                  </a:gs>
                </a:gsLst>
                <a:lin ang="5400000"/>
              </a:gradFill>
              <a:effectLst>
                <a:outerShdw blurRad="55000" dist="50800" dir="5400000" algn="tl">
                  <a:srgbClr val="000000">
                    <a:alpha val="33000"/>
                  </a:srgbClr>
                </a:outerShdw>
              </a:effectLst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 bwMode="auto">
          <a:xfrm>
            <a:off x="1066800" y="1214428"/>
            <a:ext cx="6934200" cy="584200"/>
            <a:chOff x="0" y="0"/>
            <a:chExt cx="9344766" cy="1346667"/>
          </a:xfrm>
        </p:grpSpPr>
        <p:sp>
          <p:nvSpPr>
            <p:cNvPr id="13333" name="Rectangle 47"/>
            <p:cNvSpPr/>
            <p:nvPr/>
          </p:nvSpPr>
          <p:spPr bwMode="auto">
            <a:xfrm>
              <a:off x="1353010" y="0"/>
              <a:ext cx="7991756" cy="1346667"/>
            </a:xfrm>
            <a:prstGeom prst="rect">
              <a:avLst/>
            </a:prstGeom>
            <a:solidFill>
              <a:srgbClr val="ED5326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r>
                <a:rPr lang="zh-CN" altLang="en-US" sz="2400" b="1" dirty="0" smtClean="0">
                  <a:solidFill>
                    <a:srgbClr val="FFFFFF"/>
                  </a:solidFill>
                  <a:latin typeface="Segoe UI" panose="020B0502040204020203" pitchFamily="34" charset="0"/>
                  <a:sym typeface="Segoe UI" panose="020B0502040204020203" pitchFamily="34" charset="0"/>
                </a:rPr>
                <a:t>研究背景及意义</a:t>
              </a:r>
              <a:endParaRPr lang="en-US" sz="2400" b="1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334" name="Rectangle 48"/>
            <p:cNvSpPr/>
            <p:nvPr/>
          </p:nvSpPr>
          <p:spPr bwMode="auto">
            <a:xfrm>
              <a:off x="0" y="0"/>
              <a:ext cx="1284160" cy="1346667"/>
            </a:xfrm>
            <a:prstGeom prst="rect">
              <a:avLst/>
            </a:prstGeom>
            <a:solidFill>
              <a:srgbClr val="ED5326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endParaRPr lang="zh-CN" altLang="zh-CN" sz="1500" b="1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sp>
        <p:nvSpPr>
          <p:cNvPr id="1331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pPr eaLnBrk="1" hangingPunct="1"/>
            <a:r>
              <a:rPr lang="zh-CN" altLang="en-US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13317" name="Freeform 43"/>
          <p:cNvSpPr>
            <a:spLocks noEditPoints="1" noChangeArrowheads="1"/>
          </p:cNvSpPr>
          <p:nvPr/>
        </p:nvSpPr>
        <p:spPr bwMode="auto">
          <a:xfrm>
            <a:off x="1322388" y="1241634"/>
            <a:ext cx="496887" cy="465137"/>
          </a:xfrm>
          <a:custGeom>
            <a:avLst/>
            <a:gdLst>
              <a:gd name="T0" fmla="*/ 2147483647 w 800"/>
              <a:gd name="T1" fmla="*/ 2147483647 h 748"/>
              <a:gd name="T2" fmla="*/ 2147483647 w 800"/>
              <a:gd name="T3" fmla="*/ 2147483647 h 748"/>
              <a:gd name="T4" fmla="*/ 2147483647 w 800"/>
              <a:gd name="T5" fmla="*/ 2147483647 h 748"/>
              <a:gd name="T6" fmla="*/ 2147483647 w 800"/>
              <a:gd name="T7" fmla="*/ 2147483647 h 748"/>
              <a:gd name="T8" fmla="*/ 2147483647 w 800"/>
              <a:gd name="T9" fmla="*/ 2147483647 h 748"/>
              <a:gd name="T10" fmla="*/ 2147483647 w 800"/>
              <a:gd name="T11" fmla="*/ 2147483647 h 748"/>
              <a:gd name="T12" fmla="*/ 2147483647 w 800"/>
              <a:gd name="T13" fmla="*/ 2147483647 h 748"/>
              <a:gd name="T14" fmla="*/ 0 w 800"/>
              <a:gd name="T15" fmla="*/ 2147483647 h 748"/>
              <a:gd name="T16" fmla="*/ 2147483647 w 800"/>
              <a:gd name="T17" fmla="*/ 2147483647 h 748"/>
              <a:gd name="T18" fmla="*/ 2147483647 w 800"/>
              <a:gd name="T19" fmla="*/ 2147483647 h 748"/>
              <a:gd name="T20" fmla="*/ 2147483647 w 800"/>
              <a:gd name="T21" fmla="*/ 2147483647 h 748"/>
              <a:gd name="T22" fmla="*/ 2147483647 w 800"/>
              <a:gd name="T23" fmla="*/ 2147483647 h 748"/>
              <a:gd name="T24" fmla="*/ 2147483647 w 800"/>
              <a:gd name="T25" fmla="*/ 2147483647 h 748"/>
              <a:gd name="T26" fmla="*/ 2147483647 w 800"/>
              <a:gd name="T27" fmla="*/ 2147483647 h 748"/>
              <a:gd name="T28" fmla="*/ 2147483647 w 800"/>
              <a:gd name="T29" fmla="*/ 2147483647 h 748"/>
              <a:gd name="T30" fmla="*/ 2147483647 w 800"/>
              <a:gd name="T31" fmla="*/ 2147483647 h 748"/>
              <a:gd name="T32" fmla="*/ 2147483647 w 800"/>
              <a:gd name="T33" fmla="*/ 2147483647 h 748"/>
              <a:gd name="T34" fmla="*/ 2147483647 w 800"/>
              <a:gd name="T35" fmla="*/ 2147483647 h 748"/>
              <a:gd name="T36" fmla="*/ 2147483647 w 800"/>
              <a:gd name="T37" fmla="*/ 2147483647 h 748"/>
              <a:gd name="T38" fmla="*/ 2147483647 w 800"/>
              <a:gd name="T39" fmla="*/ 2147483647 h 748"/>
              <a:gd name="T40" fmla="*/ 2147483647 w 800"/>
              <a:gd name="T41" fmla="*/ 2147483647 h 748"/>
              <a:gd name="T42" fmla="*/ 2147483647 w 800"/>
              <a:gd name="T43" fmla="*/ 2147483647 h 748"/>
              <a:gd name="T44" fmla="*/ 2147483647 w 800"/>
              <a:gd name="T45" fmla="*/ 2147483647 h 748"/>
              <a:gd name="T46" fmla="*/ 2147483647 w 800"/>
              <a:gd name="T47" fmla="*/ 2147483647 h 748"/>
              <a:gd name="T48" fmla="*/ 2147483647 w 800"/>
              <a:gd name="T49" fmla="*/ 2147483647 h 748"/>
              <a:gd name="T50" fmla="*/ 2147483647 w 800"/>
              <a:gd name="T51" fmla="*/ 2147483647 h 748"/>
              <a:gd name="T52" fmla="*/ 2147483647 w 800"/>
              <a:gd name="T53" fmla="*/ 2147483647 h 748"/>
              <a:gd name="T54" fmla="*/ 2147483647 w 800"/>
              <a:gd name="T55" fmla="*/ 2147483647 h 748"/>
              <a:gd name="T56" fmla="*/ 2147483647 w 800"/>
              <a:gd name="T57" fmla="*/ 2147483647 h 748"/>
              <a:gd name="T58" fmla="*/ 2147483647 w 800"/>
              <a:gd name="T59" fmla="*/ 2147483647 h 748"/>
              <a:gd name="T60" fmla="*/ 2147483647 w 800"/>
              <a:gd name="T61" fmla="*/ 2147483647 h 748"/>
              <a:gd name="T62" fmla="*/ 2147483647 w 800"/>
              <a:gd name="T63" fmla="*/ 2147483647 h 748"/>
              <a:gd name="T64" fmla="*/ 2147483647 w 800"/>
              <a:gd name="T65" fmla="*/ 2147483647 h 748"/>
              <a:gd name="T66" fmla="*/ 2147483647 w 800"/>
              <a:gd name="T67" fmla="*/ 2147483647 h 748"/>
              <a:gd name="T68" fmla="*/ 2147483647 w 800"/>
              <a:gd name="T69" fmla="*/ 2147483647 h 748"/>
              <a:gd name="T70" fmla="*/ 2147483647 w 800"/>
              <a:gd name="T71" fmla="*/ 2147483647 h 748"/>
              <a:gd name="T72" fmla="*/ 2147483647 w 800"/>
              <a:gd name="T73" fmla="*/ 2147483647 h 748"/>
              <a:gd name="T74" fmla="*/ 2147483647 w 800"/>
              <a:gd name="T75" fmla="*/ 2147483647 h 748"/>
              <a:gd name="T76" fmla="*/ 2147483647 w 800"/>
              <a:gd name="T77" fmla="*/ 2147483647 h 748"/>
              <a:gd name="T78" fmla="*/ 2147483647 w 800"/>
              <a:gd name="T79" fmla="*/ 2147483647 h 748"/>
              <a:gd name="T80" fmla="*/ 2147483647 w 800"/>
              <a:gd name="T81" fmla="*/ 2147483647 h 74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800"/>
              <a:gd name="T124" fmla="*/ 0 h 748"/>
              <a:gd name="T125" fmla="*/ 800 w 800"/>
              <a:gd name="T126" fmla="*/ 748 h 74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bevel/>
          </a:ln>
        </p:spPr>
        <p:txBody>
          <a:bodyPr lIns="61735" tIns="30867" rIns="61735" bIns="30867"/>
          <a:lstStyle/>
          <a:p>
            <a:pPr algn="ctr"/>
            <a:endParaRPr lang="zh-CN" altLang="zh-CN" sz="1200" b="1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4" name="Group 11"/>
          <p:cNvGrpSpPr/>
          <p:nvPr/>
        </p:nvGrpSpPr>
        <p:grpSpPr bwMode="auto">
          <a:xfrm>
            <a:off x="1066800" y="2143122"/>
            <a:ext cx="6934200" cy="584200"/>
            <a:chOff x="0" y="0"/>
            <a:chExt cx="9344762" cy="1346667"/>
          </a:xfrm>
        </p:grpSpPr>
        <p:sp>
          <p:nvSpPr>
            <p:cNvPr id="13329" name="Rectangle 51"/>
            <p:cNvSpPr/>
            <p:nvPr/>
          </p:nvSpPr>
          <p:spPr bwMode="auto">
            <a:xfrm>
              <a:off x="1353010" y="0"/>
              <a:ext cx="7991752" cy="134666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r>
                <a:rPr lang="zh-CN" altLang="en-US" sz="2400" b="1" dirty="0" smtClean="0">
                  <a:solidFill>
                    <a:srgbClr val="FFFFFF"/>
                  </a:solidFill>
                  <a:latin typeface="Segoe UI" panose="020B0502040204020203" pitchFamily="34" charset="0"/>
                  <a:sym typeface="Segoe UI" panose="020B0502040204020203" pitchFamily="34" charset="0"/>
                </a:rPr>
                <a:t>完成的主要工作</a:t>
              </a:r>
              <a:endParaRPr lang="en-US" sz="2400" b="1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330" name="Rectangle 52"/>
            <p:cNvSpPr/>
            <p:nvPr/>
          </p:nvSpPr>
          <p:spPr bwMode="auto">
            <a:xfrm>
              <a:off x="0" y="0"/>
              <a:ext cx="1284160" cy="134666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endParaRPr lang="zh-CN" altLang="zh-CN" sz="1500" b="1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sp>
        <p:nvSpPr>
          <p:cNvPr id="13320" name="Freeform 79"/>
          <p:cNvSpPr>
            <a:spLocks noEditPoints="1" noChangeArrowheads="1"/>
          </p:cNvSpPr>
          <p:nvPr/>
        </p:nvSpPr>
        <p:spPr bwMode="auto">
          <a:xfrm>
            <a:off x="1403350" y="2216365"/>
            <a:ext cx="336550" cy="419100"/>
          </a:xfrm>
          <a:custGeom>
            <a:avLst/>
            <a:gdLst>
              <a:gd name="T0" fmla="*/ 2147483647 w 277"/>
              <a:gd name="T1" fmla="*/ 2147483647 h 344"/>
              <a:gd name="T2" fmla="*/ 2147483647 w 277"/>
              <a:gd name="T3" fmla="*/ 2147483647 h 344"/>
              <a:gd name="T4" fmla="*/ 2147483647 w 277"/>
              <a:gd name="T5" fmla="*/ 2147483647 h 344"/>
              <a:gd name="T6" fmla="*/ 2147483647 w 277"/>
              <a:gd name="T7" fmla="*/ 2147483647 h 344"/>
              <a:gd name="T8" fmla="*/ 2147483647 w 277"/>
              <a:gd name="T9" fmla="*/ 2147483647 h 344"/>
              <a:gd name="T10" fmla="*/ 2147483647 w 277"/>
              <a:gd name="T11" fmla="*/ 2147483647 h 344"/>
              <a:gd name="T12" fmla="*/ 2147483647 w 277"/>
              <a:gd name="T13" fmla="*/ 2147483647 h 344"/>
              <a:gd name="T14" fmla="*/ 2147483647 w 277"/>
              <a:gd name="T15" fmla="*/ 2147483647 h 344"/>
              <a:gd name="T16" fmla="*/ 2147483647 w 277"/>
              <a:gd name="T17" fmla="*/ 2147483647 h 344"/>
              <a:gd name="T18" fmla="*/ 0 w 277"/>
              <a:gd name="T19" fmla="*/ 2147483647 h 344"/>
              <a:gd name="T20" fmla="*/ 0 w 277"/>
              <a:gd name="T21" fmla="*/ 2147483647 h 344"/>
              <a:gd name="T22" fmla="*/ 2147483647 w 277"/>
              <a:gd name="T23" fmla="*/ 2147483647 h 344"/>
              <a:gd name="T24" fmla="*/ 2147483647 w 277"/>
              <a:gd name="T25" fmla="*/ 0 h 344"/>
              <a:gd name="T26" fmla="*/ 2147483647 w 277"/>
              <a:gd name="T27" fmla="*/ 0 h 344"/>
              <a:gd name="T28" fmla="*/ 2147483647 w 277"/>
              <a:gd name="T29" fmla="*/ 2147483647 h 344"/>
              <a:gd name="T30" fmla="*/ 2147483647 w 277"/>
              <a:gd name="T31" fmla="*/ 2147483647 h 344"/>
              <a:gd name="T32" fmla="*/ 2147483647 w 277"/>
              <a:gd name="T33" fmla="*/ 2147483647 h 344"/>
              <a:gd name="T34" fmla="*/ 2147483647 w 277"/>
              <a:gd name="T35" fmla="*/ 2147483647 h 344"/>
              <a:gd name="T36" fmla="*/ 2147483647 w 277"/>
              <a:gd name="T37" fmla="*/ 2147483647 h 344"/>
              <a:gd name="T38" fmla="*/ 2147483647 w 277"/>
              <a:gd name="T39" fmla="*/ 2147483647 h 344"/>
              <a:gd name="T40" fmla="*/ 0 w 277"/>
              <a:gd name="T41" fmla="*/ 2147483647 h 344"/>
              <a:gd name="T42" fmla="*/ 0 w 277"/>
              <a:gd name="T43" fmla="*/ 2147483647 h 344"/>
              <a:gd name="T44" fmla="*/ 2147483647 w 277"/>
              <a:gd name="T45" fmla="*/ 2147483647 h 344"/>
              <a:gd name="T46" fmla="*/ 2147483647 w 277"/>
              <a:gd name="T47" fmla="*/ 2147483647 h 344"/>
              <a:gd name="T48" fmla="*/ 2147483647 w 277"/>
              <a:gd name="T49" fmla="*/ 2147483647 h 344"/>
              <a:gd name="T50" fmla="*/ 2147483647 w 277"/>
              <a:gd name="T51" fmla="*/ 2147483647 h 344"/>
              <a:gd name="T52" fmla="*/ 2147483647 w 277"/>
              <a:gd name="T53" fmla="*/ 2147483647 h 344"/>
              <a:gd name="T54" fmla="*/ 2147483647 w 277"/>
              <a:gd name="T55" fmla="*/ 2147483647 h 344"/>
              <a:gd name="T56" fmla="*/ 2147483647 w 277"/>
              <a:gd name="T57" fmla="*/ 2147483647 h 344"/>
              <a:gd name="T58" fmla="*/ 2147483647 w 277"/>
              <a:gd name="T59" fmla="*/ 2147483647 h 344"/>
              <a:gd name="T60" fmla="*/ 2147483647 w 277"/>
              <a:gd name="T61" fmla="*/ 0 h 344"/>
              <a:gd name="T62" fmla="*/ 2147483647 w 277"/>
              <a:gd name="T63" fmla="*/ 0 h 344"/>
              <a:gd name="T64" fmla="*/ 2147483647 w 277"/>
              <a:gd name="T65" fmla="*/ 2147483647 h 344"/>
              <a:gd name="T66" fmla="*/ 2147483647 w 277"/>
              <a:gd name="T67" fmla="*/ 2147483647 h 344"/>
              <a:gd name="T68" fmla="*/ 2147483647 w 277"/>
              <a:gd name="T69" fmla="*/ 2147483647 h 344"/>
              <a:gd name="T70" fmla="*/ 2147483647 w 277"/>
              <a:gd name="T71" fmla="*/ 2147483647 h 344"/>
              <a:gd name="T72" fmla="*/ 0 w 277"/>
              <a:gd name="T73" fmla="*/ 2147483647 h 344"/>
              <a:gd name="T74" fmla="*/ 0 w 277"/>
              <a:gd name="T75" fmla="*/ 2147483647 h 344"/>
              <a:gd name="T76" fmla="*/ 2147483647 w 277"/>
              <a:gd name="T77" fmla="*/ 2147483647 h 344"/>
              <a:gd name="T78" fmla="*/ 2147483647 w 277"/>
              <a:gd name="T79" fmla="*/ 2147483647 h 344"/>
              <a:gd name="T80" fmla="*/ 2147483647 w 277"/>
              <a:gd name="T81" fmla="*/ 2147483647 h 344"/>
              <a:gd name="T82" fmla="*/ 2147483647 w 277"/>
              <a:gd name="T83" fmla="*/ 2147483647 h 344"/>
              <a:gd name="T84" fmla="*/ 2147483647 w 277"/>
              <a:gd name="T85" fmla="*/ 2147483647 h 344"/>
              <a:gd name="T86" fmla="*/ 2147483647 w 277"/>
              <a:gd name="T87" fmla="*/ 2147483647 h 344"/>
              <a:gd name="T88" fmla="*/ 2147483647 w 277"/>
              <a:gd name="T89" fmla="*/ 2147483647 h 344"/>
              <a:gd name="T90" fmla="*/ 2147483647 w 277"/>
              <a:gd name="T91" fmla="*/ 2147483647 h 344"/>
              <a:gd name="T92" fmla="*/ 2147483647 w 277"/>
              <a:gd name="T93" fmla="*/ 2147483647 h 3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77"/>
              <a:gd name="T142" fmla="*/ 0 h 344"/>
              <a:gd name="T143" fmla="*/ 277 w 277"/>
              <a:gd name="T144" fmla="*/ 344 h 3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77" h="344">
                <a:moveTo>
                  <a:pt x="277" y="171"/>
                </a:moveTo>
                <a:cubicBezTo>
                  <a:pt x="277" y="251"/>
                  <a:pt x="277" y="251"/>
                  <a:pt x="277" y="251"/>
                </a:cubicBezTo>
                <a:cubicBezTo>
                  <a:pt x="277" y="254"/>
                  <a:pt x="276" y="256"/>
                  <a:pt x="274" y="258"/>
                </a:cubicBezTo>
                <a:cubicBezTo>
                  <a:pt x="251" y="280"/>
                  <a:pt x="251" y="280"/>
                  <a:pt x="251" y="280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51" y="298"/>
                  <a:pt x="250" y="300"/>
                  <a:pt x="248" y="302"/>
                </a:cubicBezTo>
                <a:cubicBezTo>
                  <a:pt x="246" y="304"/>
                  <a:pt x="244" y="305"/>
                  <a:pt x="241" y="305"/>
                </a:cubicBezTo>
                <a:cubicBezTo>
                  <a:pt x="10" y="305"/>
                  <a:pt x="10" y="305"/>
                  <a:pt x="10" y="305"/>
                </a:cubicBezTo>
                <a:cubicBezTo>
                  <a:pt x="7" y="305"/>
                  <a:pt x="5" y="304"/>
                  <a:pt x="3" y="302"/>
                </a:cubicBezTo>
                <a:cubicBezTo>
                  <a:pt x="1" y="300"/>
                  <a:pt x="0" y="298"/>
                  <a:pt x="0" y="295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10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44" y="0"/>
                  <a:pt x="246" y="1"/>
                  <a:pt x="248" y="2"/>
                </a:cubicBezTo>
                <a:cubicBezTo>
                  <a:pt x="250" y="4"/>
                  <a:pt x="251" y="6"/>
                  <a:pt x="251" y="9"/>
                </a:cubicBezTo>
                <a:cubicBezTo>
                  <a:pt x="251" y="143"/>
                  <a:pt x="251" y="143"/>
                  <a:pt x="251" y="143"/>
                </a:cubicBezTo>
                <a:cubicBezTo>
                  <a:pt x="274" y="164"/>
                  <a:pt x="274" y="164"/>
                  <a:pt x="274" y="164"/>
                </a:cubicBezTo>
                <a:cubicBezTo>
                  <a:pt x="276" y="166"/>
                  <a:pt x="277" y="169"/>
                  <a:pt x="277" y="171"/>
                </a:cubicBezTo>
                <a:close/>
                <a:moveTo>
                  <a:pt x="3" y="2"/>
                </a:moveTo>
                <a:cubicBezTo>
                  <a:pt x="1" y="4"/>
                  <a:pt x="0" y="6"/>
                  <a:pt x="0" y="9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298"/>
                  <a:pt x="1" y="300"/>
                  <a:pt x="3" y="302"/>
                </a:cubicBezTo>
                <a:cubicBezTo>
                  <a:pt x="5" y="304"/>
                  <a:pt x="7" y="305"/>
                  <a:pt x="10" y="305"/>
                </a:cubicBezTo>
                <a:cubicBezTo>
                  <a:pt x="199" y="305"/>
                  <a:pt x="199" y="305"/>
                  <a:pt x="199" y="305"/>
                </a:cubicBezTo>
                <a:cubicBezTo>
                  <a:pt x="199" y="191"/>
                  <a:pt x="199" y="191"/>
                  <a:pt x="199" y="191"/>
                </a:cubicBezTo>
                <a:cubicBezTo>
                  <a:pt x="204" y="185"/>
                  <a:pt x="216" y="171"/>
                  <a:pt x="216" y="171"/>
                </a:cubicBezTo>
                <a:cubicBezTo>
                  <a:pt x="220" y="166"/>
                  <a:pt x="222" y="161"/>
                  <a:pt x="222" y="155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22" y="44"/>
                  <a:pt x="214" y="35"/>
                  <a:pt x="202" y="32"/>
                </a:cubicBezTo>
                <a:cubicBezTo>
                  <a:pt x="31" y="0"/>
                  <a:pt x="31" y="0"/>
                  <a:pt x="3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0"/>
                  <a:pt x="5" y="1"/>
                  <a:pt x="3" y="2"/>
                </a:cubicBezTo>
                <a:close/>
                <a:moveTo>
                  <a:pt x="200" y="47"/>
                </a:moveTo>
                <a:cubicBezTo>
                  <a:pt x="11" y="11"/>
                  <a:pt x="11" y="11"/>
                  <a:pt x="11" y="11"/>
                </a:cubicBezTo>
                <a:cubicBezTo>
                  <a:pt x="9" y="10"/>
                  <a:pt x="6" y="11"/>
                  <a:pt x="4" y="13"/>
                </a:cubicBezTo>
                <a:cubicBezTo>
                  <a:pt x="2" y="14"/>
                  <a:pt x="0" y="17"/>
                  <a:pt x="0" y="20"/>
                </a:cubicBezTo>
                <a:cubicBezTo>
                  <a:pt x="0" y="302"/>
                  <a:pt x="0" y="302"/>
                  <a:pt x="0" y="302"/>
                </a:cubicBezTo>
                <a:cubicBezTo>
                  <a:pt x="0" y="307"/>
                  <a:pt x="4" y="311"/>
                  <a:pt x="8" y="311"/>
                </a:cubicBezTo>
                <a:cubicBezTo>
                  <a:pt x="173" y="343"/>
                  <a:pt x="173" y="343"/>
                  <a:pt x="173" y="343"/>
                </a:cubicBezTo>
                <a:cubicBezTo>
                  <a:pt x="176" y="344"/>
                  <a:pt x="179" y="343"/>
                  <a:pt x="181" y="341"/>
                </a:cubicBezTo>
                <a:cubicBezTo>
                  <a:pt x="183" y="339"/>
                  <a:pt x="184" y="337"/>
                  <a:pt x="184" y="334"/>
                </a:cubicBezTo>
                <a:cubicBezTo>
                  <a:pt x="184" y="185"/>
                  <a:pt x="184" y="185"/>
                  <a:pt x="184" y="185"/>
                </a:cubicBezTo>
                <a:cubicBezTo>
                  <a:pt x="205" y="161"/>
                  <a:pt x="205" y="161"/>
                  <a:pt x="205" y="161"/>
                </a:cubicBezTo>
                <a:cubicBezTo>
                  <a:pt x="206" y="159"/>
                  <a:pt x="207" y="157"/>
                  <a:pt x="207" y="155"/>
                </a:cubicBezTo>
                <a:cubicBezTo>
                  <a:pt x="207" y="56"/>
                  <a:pt x="207" y="56"/>
                  <a:pt x="207" y="56"/>
                </a:cubicBezTo>
                <a:cubicBezTo>
                  <a:pt x="207" y="51"/>
                  <a:pt x="204" y="48"/>
                  <a:pt x="200" y="47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bevel/>
          </a:ln>
        </p:spPr>
        <p:txBody>
          <a:bodyPr lIns="61735" tIns="30867" rIns="61735" bIns="30867"/>
          <a:lstStyle/>
          <a:p>
            <a:pPr algn="ctr"/>
            <a:endParaRPr lang="zh-CN" altLang="zh-CN" sz="1200" b="1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5" name="Group 15"/>
          <p:cNvGrpSpPr/>
          <p:nvPr/>
        </p:nvGrpSpPr>
        <p:grpSpPr bwMode="auto">
          <a:xfrm>
            <a:off x="1043608" y="3219822"/>
            <a:ext cx="6915131" cy="584200"/>
            <a:chOff x="0" y="-1271054"/>
            <a:chExt cx="9319068" cy="1346667"/>
          </a:xfrm>
        </p:grpSpPr>
        <p:sp>
          <p:nvSpPr>
            <p:cNvPr id="13327" name="Rectangle 47"/>
            <p:cNvSpPr/>
            <p:nvPr/>
          </p:nvSpPr>
          <p:spPr bwMode="auto">
            <a:xfrm>
              <a:off x="1327312" y="-1271054"/>
              <a:ext cx="7991756" cy="1346667"/>
            </a:xfrm>
            <a:prstGeom prst="rect">
              <a:avLst/>
            </a:prstGeom>
            <a:solidFill>
              <a:srgbClr val="429A16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r>
                <a:rPr lang="zh-CN" altLang="en-US" sz="2400" b="1" dirty="0" smtClean="0">
                  <a:solidFill>
                    <a:srgbClr val="FFFFFF"/>
                  </a:solidFill>
                  <a:latin typeface="Segoe UI" panose="020B0502040204020203" pitchFamily="34" charset="0"/>
                  <a:sym typeface="Segoe UI" panose="020B0502040204020203" pitchFamily="34" charset="0"/>
                </a:rPr>
                <a:t>研究结论和展望</a:t>
              </a:r>
              <a:endParaRPr lang="en-US" sz="2400" b="1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328" name="Rectangle 48"/>
            <p:cNvSpPr/>
            <p:nvPr/>
          </p:nvSpPr>
          <p:spPr bwMode="auto">
            <a:xfrm>
              <a:off x="0" y="-1271054"/>
              <a:ext cx="1284159" cy="1346667"/>
            </a:xfrm>
            <a:prstGeom prst="rect">
              <a:avLst/>
            </a:prstGeom>
            <a:solidFill>
              <a:srgbClr val="429A16"/>
            </a:solidFill>
            <a:ln w="9525">
              <a:noFill/>
              <a:bevel/>
            </a:ln>
          </p:spPr>
          <p:txBody>
            <a:bodyPr lIns="91436" tIns="45718" rIns="91436" bIns="45718" anchor="ctr"/>
            <a:lstStyle/>
            <a:p>
              <a:pPr algn="ctr"/>
              <a:endParaRPr lang="zh-CN" altLang="zh-CN" sz="1500" b="1">
                <a:latin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sp>
        <p:nvSpPr>
          <p:cNvPr id="13322" name="Freeform 43"/>
          <p:cNvSpPr>
            <a:spLocks noEditPoints="1" noChangeArrowheads="1"/>
          </p:cNvSpPr>
          <p:nvPr/>
        </p:nvSpPr>
        <p:spPr bwMode="auto">
          <a:xfrm>
            <a:off x="1403648" y="3291830"/>
            <a:ext cx="496887" cy="463550"/>
          </a:xfrm>
          <a:custGeom>
            <a:avLst/>
            <a:gdLst>
              <a:gd name="T0" fmla="*/ 2147483647 w 800"/>
              <a:gd name="T1" fmla="*/ 2147483647 h 748"/>
              <a:gd name="T2" fmla="*/ 2147483647 w 800"/>
              <a:gd name="T3" fmla="*/ 2147483647 h 748"/>
              <a:gd name="T4" fmla="*/ 2147483647 w 800"/>
              <a:gd name="T5" fmla="*/ 2147483647 h 748"/>
              <a:gd name="T6" fmla="*/ 2147483647 w 800"/>
              <a:gd name="T7" fmla="*/ 2147483647 h 748"/>
              <a:gd name="T8" fmla="*/ 2147483647 w 800"/>
              <a:gd name="T9" fmla="*/ 2147483647 h 748"/>
              <a:gd name="T10" fmla="*/ 2147483647 w 800"/>
              <a:gd name="T11" fmla="*/ 2147483647 h 748"/>
              <a:gd name="T12" fmla="*/ 2147483647 w 800"/>
              <a:gd name="T13" fmla="*/ 2147483647 h 748"/>
              <a:gd name="T14" fmla="*/ 0 w 800"/>
              <a:gd name="T15" fmla="*/ 2147483647 h 748"/>
              <a:gd name="T16" fmla="*/ 2147483647 w 800"/>
              <a:gd name="T17" fmla="*/ 2147483647 h 748"/>
              <a:gd name="T18" fmla="*/ 2147483647 w 800"/>
              <a:gd name="T19" fmla="*/ 2147483647 h 748"/>
              <a:gd name="T20" fmla="*/ 2147483647 w 800"/>
              <a:gd name="T21" fmla="*/ 2147483647 h 748"/>
              <a:gd name="T22" fmla="*/ 2147483647 w 800"/>
              <a:gd name="T23" fmla="*/ 2147483647 h 748"/>
              <a:gd name="T24" fmla="*/ 2147483647 w 800"/>
              <a:gd name="T25" fmla="*/ 2147483647 h 748"/>
              <a:gd name="T26" fmla="*/ 2147483647 w 800"/>
              <a:gd name="T27" fmla="*/ 2147483647 h 748"/>
              <a:gd name="T28" fmla="*/ 2147483647 w 800"/>
              <a:gd name="T29" fmla="*/ 2147483647 h 748"/>
              <a:gd name="T30" fmla="*/ 2147483647 w 800"/>
              <a:gd name="T31" fmla="*/ 2147483647 h 748"/>
              <a:gd name="T32" fmla="*/ 2147483647 w 800"/>
              <a:gd name="T33" fmla="*/ 2147483647 h 748"/>
              <a:gd name="T34" fmla="*/ 2147483647 w 800"/>
              <a:gd name="T35" fmla="*/ 2147483647 h 748"/>
              <a:gd name="T36" fmla="*/ 2147483647 w 800"/>
              <a:gd name="T37" fmla="*/ 2147483647 h 748"/>
              <a:gd name="T38" fmla="*/ 2147483647 w 800"/>
              <a:gd name="T39" fmla="*/ 2147483647 h 748"/>
              <a:gd name="T40" fmla="*/ 2147483647 w 800"/>
              <a:gd name="T41" fmla="*/ 2147483647 h 748"/>
              <a:gd name="T42" fmla="*/ 2147483647 w 800"/>
              <a:gd name="T43" fmla="*/ 2147483647 h 748"/>
              <a:gd name="T44" fmla="*/ 2147483647 w 800"/>
              <a:gd name="T45" fmla="*/ 2147483647 h 748"/>
              <a:gd name="T46" fmla="*/ 2147483647 w 800"/>
              <a:gd name="T47" fmla="*/ 2147483647 h 748"/>
              <a:gd name="T48" fmla="*/ 2147483647 w 800"/>
              <a:gd name="T49" fmla="*/ 2147483647 h 748"/>
              <a:gd name="T50" fmla="*/ 2147483647 w 800"/>
              <a:gd name="T51" fmla="*/ 2147483647 h 748"/>
              <a:gd name="T52" fmla="*/ 2147483647 w 800"/>
              <a:gd name="T53" fmla="*/ 2147483647 h 748"/>
              <a:gd name="T54" fmla="*/ 2147483647 w 800"/>
              <a:gd name="T55" fmla="*/ 2147483647 h 748"/>
              <a:gd name="T56" fmla="*/ 2147483647 w 800"/>
              <a:gd name="T57" fmla="*/ 2147483647 h 748"/>
              <a:gd name="T58" fmla="*/ 2147483647 w 800"/>
              <a:gd name="T59" fmla="*/ 2147483647 h 748"/>
              <a:gd name="T60" fmla="*/ 2147483647 w 800"/>
              <a:gd name="T61" fmla="*/ 2147483647 h 748"/>
              <a:gd name="T62" fmla="*/ 2147483647 w 800"/>
              <a:gd name="T63" fmla="*/ 2147483647 h 748"/>
              <a:gd name="T64" fmla="*/ 2147483647 w 800"/>
              <a:gd name="T65" fmla="*/ 2147483647 h 748"/>
              <a:gd name="T66" fmla="*/ 2147483647 w 800"/>
              <a:gd name="T67" fmla="*/ 2147483647 h 748"/>
              <a:gd name="T68" fmla="*/ 2147483647 w 800"/>
              <a:gd name="T69" fmla="*/ 2147483647 h 748"/>
              <a:gd name="T70" fmla="*/ 2147483647 w 800"/>
              <a:gd name="T71" fmla="*/ 2147483647 h 748"/>
              <a:gd name="T72" fmla="*/ 2147483647 w 800"/>
              <a:gd name="T73" fmla="*/ 2147483647 h 748"/>
              <a:gd name="T74" fmla="*/ 2147483647 w 800"/>
              <a:gd name="T75" fmla="*/ 2147483647 h 748"/>
              <a:gd name="T76" fmla="*/ 2147483647 w 800"/>
              <a:gd name="T77" fmla="*/ 2147483647 h 748"/>
              <a:gd name="T78" fmla="*/ 2147483647 w 800"/>
              <a:gd name="T79" fmla="*/ 2147483647 h 748"/>
              <a:gd name="T80" fmla="*/ 2147483647 w 800"/>
              <a:gd name="T81" fmla="*/ 2147483647 h 74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800"/>
              <a:gd name="T124" fmla="*/ 0 h 748"/>
              <a:gd name="T125" fmla="*/ 800 w 800"/>
              <a:gd name="T126" fmla="*/ 748 h 74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800" h="748">
                <a:moveTo>
                  <a:pt x="350" y="661"/>
                </a:moveTo>
                <a:cubicBezTo>
                  <a:pt x="106" y="178"/>
                  <a:pt x="106" y="178"/>
                  <a:pt x="106" y="178"/>
                </a:cubicBezTo>
                <a:cubicBezTo>
                  <a:pt x="98" y="160"/>
                  <a:pt x="105" y="138"/>
                  <a:pt x="122" y="130"/>
                </a:cubicBezTo>
                <a:cubicBezTo>
                  <a:pt x="204" y="88"/>
                  <a:pt x="204" y="88"/>
                  <a:pt x="204" y="88"/>
                </a:cubicBezTo>
                <a:cubicBezTo>
                  <a:pt x="222" y="80"/>
                  <a:pt x="244" y="87"/>
                  <a:pt x="252" y="104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4" y="605"/>
                  <a:pt x="497" y="627"/>
                  <a:pt x="479" y="636"/>
                </a:cubicBezTo>
                <a:cubicBezTo>
                  <a:pt x="398" y="677"/>
                  <a:pt x="398" y="677"/>
                  <a:pt x="398" y="677"/>
                </a:cubicBezTo>
                <a:cubicBezTo>
                  <a:pt x="380" y="686"/>
                  <a:pt x="358" y="679"/>
                  <a:pt x="350" y="661"/>
                </a:cubicBezTo>
                <a:close/>
                <a:moveTo>
                  <a:pt x="148" y="300"/>
                </a:moveTo>
                <a:cubicBezTo>
                  <a:pt x="83" y="171"/>
                  <a:pt x="83" y="171"/>
                  <a:pt x="83" y="171"/>
                </a:cubicBezTo>
                <a:cubicBezTo>
                  <a:pt x="78" y="161"/>
                  <a:pt x="79" y="148"/>
                  <a:pt x="84" y="138"/>
                </a:cubicBezTo>
                <a:cubicBezTo>
                  <a:pt x="67" y="134"/>
                  <a:pt x="67" y="134"/>
                  <a:pt x="67" y="134"/>
                </a:cubicBezTo>
                <a:cubicBezTo>
                  <a:pt x="49" y="220"/>
                  <a:pt x="49" y="220"/>
                  <a:pt x="49" y="220"/>
                </a:cubicBezTo>
                <a:cubicBezTo>
                  <a:pt x="63" y="223"/>
                  <a:pt x="63" y="223"/>
                  <a:pt x="63" y="223"/>
                </a:cubicBezTo>
                <a:cubicBezTo>
                  <a:pt x="49" y="325"/>
                  <a:pt x="0" y="388"/>
                  <a:pt x="0" y="499"/>
                </a:cubicBezTo>
                <a:cubicBezTo>
                  <a:pt x="18" y="529"/>
                  <a:pt x="26" y="622"/>
                  <a:pt x="14" y="672"/>
                </a:cubicBezTo>
                <a:cubicBezTo>
                  <a:pt x="85" y="555"/>
                  <a:pt x="129" y="431"/>
                  <a:pt x="148" y="300"/>
                </a:cubicBezTo>
                <a:close/>
                <a:moveTo>
                  <a:pt x="230" y="723"/>
                </a:moveTo>
                <a:cubicBezTo>
                  <a:pt x="263" y="719"/>
                  <a:pt x="263" y="719"/>
                  <a:pt x="263" y="719"/>
                </a:cubicBezTo>
                <a:cubicBezTo>
                  <a:pt x="290" y="653"/>
                  <a:pt x="290" y="653"/>
                  <a:pt x="290" y="653"/>
                </a:cubicBezTo>
                <a:cubicBezTo>
                  <a:pt x="257" y="657"/>
                  <a:pt x="257" y="657"/>
                  <a:pt x="257" y="657"/>
                </a:cubicBezTo>
                <a:cubicBezTo>
                  <a:pt x="230" y="723"/>
                  <a:pt x="230" y="723"/>
                  <a:pt x="230" y="723"/>
                </a:cubicBezTo>
                <a:close/>
                <a:moveTo>
                  <a:pt x="169" y="732"/>
                </a:moveTo>
                <a:cubicBezTo>
                  <a:pt x="202" y="727"/>
                  <a:pt x="202" y="727"/>
                  <a:pt x="202" y="727"/>
                </a:cubicBezTo>
                <a:cubicBezTo>
                  <a:pt x="229" y="661"/>
                  <a:pt x="229" y="661"/>
                  <a:pt x="229" y="661"/>
                </a:cubicBezTo>
                <a:cubicBezTo>
                  <a:pt x="196" y="666"/>
                  <a:pt x="196" y="666"/>
                  <a:pt x="196" y="666"/>
                </a:cubicBezTo>
                <a:cubicBezTo>
                  <a:pt x="169" y="732"/>
                  <a:pt x="169" y="732"/>
                  <a:pt x="169" y="732"/>
                </a:cubicBezTo>
                <a:close/>
                <a:moveTo>
                  <a:pt x="111" y="740"/>
                </a:moveTo>
                <a:cubicBezTo>
                  <a:pt x="144" y="735"/>
                  <a:pt x="144" y="735"/>
                  <a:pt x="144" y="735"/>
                </a:cubicBezTo>
                <a:cubicBezTo>
                  <a:pt x="171" y="669"/>
                  <a:pt x="171" y="669"/>
                  <a:pt x="171" y="669"/>
                </a:cubicBezTo>
                <a:cubicBezTo>
                  <a:pt x="138" y="674"/>
                  <a:pt x="138" y="674"/>
                  <a:pt x="138" y="674"/>
                </a:cubicBezTo>
                <a:cubicBezTo>
                  <a:pt x="111" y="740"/>
                  <a:pt x="111" y="740"/>
                  <a:pt x="111" y="740"/>
                </a:cubicBezTo>
                <a:close/>
                <a:moveTo>
                  <a:pt x="51" y="748"/>
                </a:moveTo>
                <a:cubicBezTo>
                  <a:pt x="84" y="744"/>
                  <a:pt x="84" y="744"/>
                  <a:pt x="84" y="744"/>
                </a:cubicBezTo>
                <a:cubicBezTo>
                  <a:pt x="111" y="678"/>
                  <a:pt x="111" y="678"/>
                  <a:pt x="111" y="678"/>
                </a:cubicBezTo>
                <a:cubicBezTo>
                  <a:pt x="78" y="682"/>
                  <a:pt x="78" y="682"/>
                  <a:pt x="78" y="682"/>
                </a:cubicBezTo>
                <a:cubicBezTo>
                  <a:pt x="51" y="748"/>
                  <a:pt x="51" y="748"/>
                  <a:pt x="51" y="748"/>
                </a:cubicBezTo>
                <a:close/>
                <a:moveTo>
                  <a:pt x="47" y="741"/>
                </a:moveTo>
                <a:cubicBezTo>
                  <a:pt x="28" y="716"/>
                  <a:pt x="28" y="716"/>
                  <a:pt x="28" y="716"/>
                </a:cubicBezTo>
                <a:cubicBezTo>
                  <a:pt x="60" y="711"/>
                  <a:pt x="60" y="711"/>
                  <a:pt x="60" y="711"/>
                </a:cubicBezTo>
                <a:cubicBezTo>
                  <a:pt x="47" y="741"/>
                  <a:pt x="47" y="741"/>
                  <a:pt x="47" y="741"/>
                </a:cubicBezTo>
                <a:close/>
                <a:moveTo>
                  <a:pt x="277" y="706"/>
                </a:moveTo>
                <a:cubicBezTo>
                  <a:pt x="351" y="696"/>
                  <a:pt x="351" y="696"/>
                  <a:pt x="351" y="696"/>
                </a:cubicBezTo>
                <a:cubicBezTo>
                  <a:pt x="347" y="693"/>
                  <a:pt x="343" y="689"/>
                  <a:pt x="341" y="684"/>
                </a:cubicBezTo>
                <a:cubicBezTo>
                  <a:pt x="328" y="659"/>
                  <a:pt x="328" y="659"/>
                  <a:pt x="328" y="659"/>
                </a:cubicBezTo>
                <a:cubicBezTo>
                  <a:pt x="295" y="664"/>
                  <a:pt x="295" y="664"/>
                  <a:pt x="295" y="664"/>
                </a:cubicBezTo>
                <a:cubicBezTo>
                  <a:pt x="277" y="706"/>
                  <a:pt x="277" y="706"/>
                  <a:pt x="277" y="706"/>
                </a:cubicBezTo>
                <a:close/>
                <a:moveTo>
                  <a:pt x="460" y="249"/>
                </a:moveTo>
                <a:cubicBezTo>
                  <a:pt x="457" y="471"/>
                  <a:pt x="457" y="471"/>
                  <a:pt x="457" y="471"/>
                </a:cubicBezTo>
                <a:cubicBezTo>
                  <a:pt x="481" y="518"/>
                  <a:pt x="481" y="518"/>
                  <a:pt x="481" y="518"/>
                </a:cubicBezTo>
                <a:cubicBezTo>
                  <a:pt x="505" y="567"/>
                  <a:pt x="505" y="567"/>
                  <a:pt x="505" y="567"/>
                </a:cubicBezTo>
                <a:cubicBezTo>
                  <a:pt x="507" y="571"/>
                  <a:pt x="507" y="571"/>
                  <a:pt x="507" y="571"/>
                </a:cubicBezTo>
                <a:cubicBezTo>
                  <a:pt x="509" y="568"/>
                  <a:pt x="509" y="568"/>
                  <a:pt x="509" y="568"/>
                </a:cubicBezTo>
                <a:cubicBezTo>
                  <a:pt x="516" y="568"/>
                  <a:pt x="516" y="568"/>
                  <a:pt x="516" y="568"/>
                </a:cubicBezTo>
                <a:cubicBezTo>
                  <a:pt x="516" y="556"/>
                  <a:pt x="516" y="556"/>
                  <a:pt x="516" y="556"/>
                </a:cubicBezTo>
                <a:cubicBezTo>
                  <a:pt x="658" y="320"/>
                  <a:pt x="658" y="320"/>
                  <a:pt x="658" y="320"/>
                </a:cubicBezTo>
                <a:cubicBezTo>
                  <a:pt x="667" y="326"/>
                  <a:pt x="667" y="326"/>
                  <a:pt x="667" y="326"/>
                </a:cubicBezTo>
                <a:cubicBezTo>
                  <a:pt x="680" y="333"/>
                  <a:pt x="696" y="329"/>
                  <a:pt x="703" y="317"/>
                </a:cubicBezTo>
                <a:cubicBezTo>
                  <a:pt x="794" y="166"/>
                  <a:pt x="794" y="166"/>
                  <a:pt x="794" y="166"/>
                </a:cubicBezTo>
                <a:cubicBezTo>
                  <a:pt x="800" y="156"/>
                  <a:pt x="798" y="143"/>
                  <a:pt x="790" y="134"/>
                </a:cubicBezTo>
                <a:cubicBezTo>
                  <a:pt x="715" y="260"/>
                  <a:pt x="715" y="260"/>
                  <a:pt x="715" y="260"/>
                </a:cubicBezTo>
                <a:cubicBezTo>
                  <a:pt x="699" y="250"/>
                  <a:pt x="699" y="250"/>
                  <a:pt x="699" y="250"/>
                </a:cubicBezTo>
                <a:cubicBezTo>
                  <a:pt x="775" y="124"/>
                  <a:pt x="775" y="124"/>
                  <a:pt x="775" y="124"/>
                </a:cubicBezTo>
                <a:cubicBezTo>
                  <a:pt x="758" y="114"/>
                  <a:pt x="758" y="114"/>
                  <a:pt x="758" y="114"/>
                </a:cubicBezTo>
                <a:cubicBezTo>
                  <a:pt x="682" y="241"/>
                  <a:pt x="682" y="241"/>
                  <a:pt x="682" y="241"/>
                </a:cubicBezTo>
                <a:cubicBezTo>
                  <a:pt x="666" y="231"/>
                  <a:pt x="666" y="231"/>
                  <a:pt x="666" y="231"/>
                </a:cubicBezTo>
                <a:cubicBezTo>
                  <a:pt x="742" y="104"/>
                  <a:pt x="742" y="104"/>
                  <a:pt x="742" y="104"/>
                </a:cubicBezTo>
                <a:cubicBezTo>
                  <a:pt x="725" y="94"/>
                  <a:pt x="725" y="94"/>
                  <a:pt x="725" y="94"/>
                </a:cubicBezTo>
                <a:cubicBezTo>
                  <a:pt x="650" y="221"/>
                  <a:pt x="650" y="221"/>
                  <a:pt x="650" y="221"/>
                </a:cubicBezTo>
                <a:cubicBezTo>
                  <a:pt x="633" y="211"/>
                  <a:pt x="633" y="211"/>
                  <a:pt x="633" y="211"/>
                </a:cubicBezTo>
                <a:cubicBezTo>
                  <a:pt x="709" y="85"/>
                  <a:pt x="709" y="85"/>
                  <a:pt x="709" y="85"/>
                </a:cubicBezTo>
                <a:cubicBezTo>
                  <a:pt x="697" y="82"/>
                  <a:pt x="685" y="87"/>
                  <a:pt x="679" y="97"/>
                </a:cubicBezTo>
                <a:cubicBezTo>
                  <a:pt x="589" y="248"/>
                  <a:pt x="589" y="248"/>
                  <a:pt x="589" y="248"/>
                </a:cubicBezTo>
                <a:cubicBezTo>
                  <a:pt x="581" y="261"/>
                  <a:pt x="585" y="277"/>
                  <a:pt x="598" y="284"/>
                </a:cubicBezTo>
                <a:cubicBezTo>
                  <a:pt x="615" y="294"/>
                  <a:pt x="615" y="294"/>
                  <a:pt x="615" y="294"/>
                </a:cubicBezTo>
                <a:cubicBezTo>
                  <a:pt x="518" y="456"/>
                  <a:pt x="518" y="456"/>
                  <a:pt x="518" y="456"/>
                </a:cubicBezTo>
                <a:cubicBezTo>
                  <a:pt x="520" y="247"/>
                  <a:pt x="520" y="247"/>
                  <a:pt x="520" y="247"/>
                </a:cubicBezTo>
                <a:cubicBezTo>
                  <a:pt x="556" y="229"/>
                  <a:pt x="582" y="183"/>
                  <a:pt x="583" y="129"/>
                </a:cubicBezTo>
                <a:cubicBezTo>
                  <a:pt x="584" y="59"/>
                  <a:pt x="542" y="2"/>
                  <a:pt x="490" y="1"/>
                </a:cubicBezTo>
                <a:cubicBezTo>
                  <a:pt x="437" y="0"/>
                  <a:pt x="394" y="57"/>
                  <a:pt x="393" y="127"/>
                </a:cubicBezTo>
                <a:cubicBezTo>
                  <a:pt x="392" y="184"/>
                  <a:pt x="420" y="233"/>
                  <a:pt x="460" y="24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bevel/>
          </a:ln>
        </p:spPr>
        <p:txBody>
          <a:bodyPr lIns="61735" tIns="30867" rIns="61735" bIns="30867"/>
          <a:lstStyle/>
          <a:p>
            <a:pPr algn="ctr"/>
            <a:endParaRPr lang="zh-CN" altLang="zh-CN" sz="1200" b="1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374301" y="1131590"/>
            <a:ext cx="8388701" cy="3116388"/>
            <a:chOff x="374301" y="2725660"/>
            <a:chExt cx="8388701" cy="3116388"/>
          </a:xfrm>
        </p:grpSpPr>
        <p:sp>
          <p:nvSpPr>
            <p:cNvPr id="15" name="Rectangle 8"/>
            <p:cNvSpPr/>
            <p:nvPr/>
          </p:nvSpPr>
          <p:spPr bwMode="auto">
            <a:xfrm>
              <a:off x="374301" y="2725660"/>
              <a:ext cx="8382000" cy="540158"/>
            </a:xfrm>
            <a:prstGeom prst="rect">
              <a:avLst/>
            </a:prstGeom>
            <a:solidFill>
              <a:schemeClr val="accent1"/>
            </a:solidFill>
            <a:ln w="38100">
              <a:noFill/>
              <a:miter lim="800000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soft" dir="tl">
                <a:rot lat="0" lon="0" rev="20000000"/>
              </a:lightRig>
            </a:scene3d>
            <a:sp3d prstMaterial="matte"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102875" rIns="68580" bIns="102875" numCol="1" rtlCol="0" anchor="t" anchorCtr="0" compatLnSpc="1">
              <a:spAutoFit/>
            </a:bodyPr>
            <a:lstStyle/>
            <a:p>
              <a:pPr marL="345440" indent="-345440" defTabSz="685800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SzPct val="90000"/>
                <a:buFontTx/>
                <a:buBlip>
                  <a:blip r:embed="rId3"/>
                </a:buBlip>
              </a:pPr>
              <a:endParaRPr lang="en-US" sz="2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6" name="Rectangle 9"/>
            <p:cNvSpPr/>
            <p:nvPr/>
          </p:nvSpPr>
          <p:spPr>
            <a:xfrm>
              <a:off x="501034" y="2806415"/>
              <a:ext cx="8261968" cy="401652"/>
            </a:xfrm>
            <a:prstGeom prst="rect">
              <a:avLst/>
            </a:prstGeom>
          </p:spPr>
          <p:txBody>
            <a:bodyPr wrap="square" lIns="68583" tIns="34292" rIns="68583" bIns="34292">
              <a:spAutoFit/>
            </a:bodyPr>
            <a:lstStyle/>
            <a:p>
              <a:pPr marL="302260" indent="-302260" defTabSz="685800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SzPct val="105000"/>
              </a:pPr>
              <a:r>
                <a:rPr lang="zh-CN" altLang="en-US" sz="24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非负矩阵分解（</a:t>
              </a:r>
              <a:r>
                <a:rPr lang="en-US" altLang="zh-CN" sz="24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Nonnegative Matrix Factorization</a:t>
              </a:r>
              <a:r>
                <a:rPr lang="zh-CN" altLang="en-US" sz="24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）</a:t>
              </a:r>
              <a:endParaRPr lang="en-US" altLang="zh-CN" sz="24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27622" y="3733772"/>
              <a:ext cx="7660095" cy="2108276"/>
            </a:xfrm>
            <a:prstGeom prst="rect">
              <a:avLst/>
            </a:prstGeom>
            <a:noFill/>
          </p:spPr>
          <p:txBody>
            <a:bodyPr wrap="square" lIns="68583" tIns="68583" rIns="68583" bIns="68583" rtlCol="0">
              <a:spAutoFit/>
            </a:bodyPr>
            <a:lstStyle/>
            <a:p>
              <a:pPr marL="342900" indent="-342900" defTabSz="685800" fontAlgn="auto">
                <a:spcBef>
                  <a:spcPct val="20000"/>
                </a:spcBef>
                <a:spcAft>
                  <a:spcPts val="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en-US" altLang="zh-CN" sz="2000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NMF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理论由</a:t>
              </a:r>
              <a:r>
                <a:rPr lang="en-US" altLang="zh-CN" sz="2000" dirty="0" err="1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D.D.Lee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和</a:t>
              </a:r>
              <a:r>
                <a:rPr lang="en-US" altLang="zh-CN" sz="2000" dirty="0" err="1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H.S.Seung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在</a:t>
              </a:r>
              <a:r>
                <a:rPr lang="en-US" altLang="zh-CN" sz="2000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1999</a:t>
              </a:r>
              <a:r>
                <a:rPr lang="en-US" altLang="zh-CN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 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年</a:t>
              </a:r>
              <a:r>
                <a:rPr lang="en-US" altLang="zh-CN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《</a:t>
              </a:r>
              <a:r>
                <a:rPr lang="en-US" altLang="zh-CN" sz="2000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Nature</a:t>
              </a:r>
              <a:r>
                <a:rPr lang="en-US" altLang="zh-CN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》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上</a:t>
              </a: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提出并同时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用于人脸</a:t>
              </a: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识别；</a:t>
              </a:r>
              <a:endParaRPr lang="en-US" altLang="zh-CN" sz="20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endParaRPr>
            </a:p>
            <a:p>
              <a:pPr marL="342900" indent="-342900" defTabSz="685800" fontAlgn="auto">
                <a:spcBef>
                  <a:spcPct val="20000"/>
                </a:spcBef>
                <a:spcAft>
                  <a:spcPts val="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通过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将高维数据近似为多个低维非负因子的</a:t>
              </a: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乘积，使得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数据中的某种潜在的线性结构能够更好地被描述出来，使得分解后的数据具有较好的聚类</a:t>
              </a: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效果</a:t>
              </a: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；</a:t>
              </a:r>
              <a:endParaRPr lang="en-US" altLang="zh-CN" sz="20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endParaRPr>
            </a:p>
            <a:p>
              <a:pPr marL="342900" indent="-342900" defTabSz="685800" fontAlgn="auto">
                <a:spcBef>
                  <a:spcPct val="20000"/>
                </a:spcBef>
                <a:spcAft>
                  <a:spcPts val="0"/>
                </a:spcAft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2000" b="1" dirty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它的突出特点是其分解结果的所有分量均为非</a:t>
              </a:r>
              <a:r>
                <a:rPr lang="zh-CN" altLang="en-US" sz="2000" b="1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负值。</a:t>
              </a:r>
              <a:endParaRPr lang="zh-CN" altLang="en-US" sz="20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endParaRPr>
            </a:p>
          </p:txBody>
        </p:sp>
      </p:grpSp>
      <p:sp>
        <p:nvSpPr>
          <p:cNvPr id="21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507831"/>
          </a:xfrm>
        </p:spPr>
        <p:txBody>
          <a:bodyPr/>
          <a:lstStyle/>
          <a:p>
            <a:pPr lvl="0" defTabSz="685800" fontAlgn="base">
              <a:lnSpc>
                <a:spcPct val="100000"/>
              </a:lnSpc>
              <a:spcAft>
                <a:spcPct val="0"/>
              </a:spcAft>
            </a:pPr>
            <a:r>
              <a:rPr lang="zh-CN" altLang="en-US" b="1" spc="0" dirty="0">
                <a:ln>
                  <a:noFill/>
                </a:ln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/>
                <a:sym typeface="Segoe UI" panose="020B0502040204020203" pitchFamily="34" charset="0"/>
              </a:rPr>
              <a:t>研究背景及意义</a:t>
            </a:r>
            <a:endParaRPr lang="en-US" altLang="zh-CN" b="1" spc="0" dirty="0">
              <a:ln>
                <a:noFill/>
              </a:ln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/>
              <a:sym typeface="Segoe UI" panose="020B0502040204020203" pitchFamily="34" charset="0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3"/>
          <p:cNvSpPr>
            <a:spLocks noGrp="1" noChangeArrowheads="1"/>
          </p:cNvSpPr>
          <p:nvPr/>
        </p:nvSpPr>
        <p:spPr bwMode="auto">
          <a:xfrm>
            <a:off x="323528" y="3291830"/>
            <a:ext cx="7704856" cy="15696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L="342900" indent="-342900">
              <a:lnSpc>
                <a:spcPct val="13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原始矩阵为</a:t>
            </a:r>
            <a:r>
              <a:rPr lang="en-US" altLang="zh-CN" sz="2000" i="1" dirty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X</a:t>
            </a: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。</a:t>
            </a:r>
            <a:endParaRPr lang="en-US" altLang="zh-CN" sz="2000" baseline="-25000" dirty="0" smtClean="0">
              <a:latin typeface="宋体" panose="02010600030101010101" pitchFamily="2" charset="-122"/>
              <a:cs typeface="Arial Unicode MS" panose="020B0604020202020204" pitchFamily="34" charset="-122"/>
              <a:sym typeface="Segoe UI" panose="020B0502040204020203" pitchFamily="34" charset="0"/>
            </a:endParaRPr>
          </a:p>
          <a:p>
            <a:pPr marL="342900" indent="-342900" latinLnBrk="1">
              <a:lnSpc>
                <a:spcPct val="130000"/>
              </a:lnSpc>
              <a:spcBef>
                <a:spcPct val="20000"/>
              </a:spcBef>
              <a:buSzPct val="90000"/>
              <a:buFont typeface="Arial" panose="020B0604020202020204" pitchFamily="34" charset="0"/>
              <a:buChar char="•"/>
            </a:pPr>
            <a:r>
              <a:rPr lang="en-US" altLang="zh-CN" sz="2000" i="1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W </a:t>
            </a: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为分解后的基矩阵，</a:t>
            </a:r>
            <a:r>
              <a:rPr lang="en-US" altLang="zh-CN" sz="2000" i="1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H </a:t>
            </a: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为分解后的系数矩阵，且</a:t>
            </a:r>
            <a:r>
              <a:rPr lang="en-US" altLang="zh-CN" sz="2000" i="1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W </a:t>
            </a: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与</a:t>
            </a:r>
            <a:r>
              <a:rPr lang="en-US" altLang="zh-CN" sz="2000" i="1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H </a:t>
            </a:r>
            <a:r>
              <a:rPr lang="zh-CN" altLang="en-US" sz="2000" dirty="0" smtClean="0">
                <a:latin typeface="宋体" panose="02010600030101010101" pitchFamily="2" charset="-122"/>
                <a:cs typeface="Arial Unicode MS" panose="020B0604020202020204" pitchFamily="34" charset="-122"/>
                <a:sym typeface="Segoe UI" panose="020B0502040204020203" pitchFamily="34" charset="0"/>
              </a:rPr>
              <a:t>都为非负矩阵。</a:t>
            </a:r>
            <a:endParaRPr lang="en-US" altLang="zh-CN" sz="2000" dirty="0" smtClean="0">
              <a:latin typeface="宋体" panose="02010600030101010101" pitchFamily="2" charset="-122"/>
              <a:cs typeface="Arial Unicode MS" panose="020B0604020202020204" pitchFamily="34" charset="-122"/>
              <a:sym typeface="Segoe UI" panose="020B0502040204020203" pitchFamily="34" charset="0"/>
            </a:endParaRPr>
          </a:p>
          <a:p>
            <a:pPr latinLnBrk="1">
              <a:lnSpc>
                <a:spcPct val="130000"/>
              </a:lnSpc>
              <a:spcBef>
                <a:spcPct val="20000"/>
              </a:spcBef>
              <a:buSzPct val="90000"/>
            </a:pPr>
            <a:endParaRPr lang="en-US" altLang="zh-CN" sz="2000" baseline="-25000" dirty="0" smtClean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Segoe UI" panose="020B0502040204020203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67544" y="555526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400" dirty="0">
                <a:latin typeface="宋体" panose="02010600030101010101" pitchFamily="2" charset="-122"/>
                <a:cs typeface="Arial Unicode MS" panose="020B0604020202020204" pitchFamily="34" charset="-122"/>
              </a:rPr>
              <a:t>目标函数</a:t>
            </a:r>
            <a:r>
              <a:rPr lang="zh-CN" altLang="en-US" sz="2400" dirty="0" smtClean="0"/>
              <a:t>：</a:t>
            </a:r>
            <a:endParaRPr lang="zh-CN" altLang="en-US" sz="2400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graphicFrame>
        <p:nvGraphicFramePr>
          <p:cNvPr id="9" name="对象 8"/>
          <p:cNvGraphicFramePr>
            <a:graphicFrameLocks noChangeAspect="1"/>
          </p:cNvGraphicFramePr>
          <p:nvPr/>
        </p:nvGraphicFramePr>
        <p:xfrm>
          <a:off x="1547664" y="1707654"/>
          <a:ext cx="2411977" cy="78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Equation" r:id="rId4" imgW="24688800" imgH="7924800" progId="Equation.DSMT4">
                  <p:embed/>
                </p:oleObj>
              </mc:Choice>
              <mc:Fallback>
                <p:oleObj name="Equation" r:id="rId4" imgW="24688800" imgH="7924800" progId="Equation.DSMT4">
                  <p:embed/>
                  <p:pic>
                    <p:nvPicPr>
                      <p:cNvPr id="0" name="图片 2048"/>
                      <p:cNvPicPr>
                        <a:picLocks noChangeAspect="1"/>
                      </p:cNvPicPr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47664" y="1707654"/>
                        <a:ext cx="2411977" cy="781659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/>
          <p:cNvSpPr/>
          <p:nvPr/>
        </p:nvSpPr>
        <p:spPr bwMode="auto">
          <a:xfrm>
            <a:off x="5826375" y="1347614"/>
            <a:ext cx="648072" cy="1080120"/>
          </a:xfrm>
          <a:prstGeom prst="rect">
            <a:avLst/>
          </a:prstGeom>
          <a:pattFill prst="smGrid">
            <a:fgClr>
              <a:schemeClr val="bg2"/>
            </a:fgClr>
            <a:bgClr>
              <a:schemeClr val="tx1"/>
            </a:bgClr>
          </a:patt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r>
              <a:rPr lang="en-US" altLang="zh-CN" sz="2200" dirty="0" smtClean="0">
                <a:solidFill>
                  <a:schemeClr val="bg1">
                    <a:alpha val="98824"/>
                  </a:schemeClr>
                </a:solidFill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X</a:t>
            </a:r>
            <a:endParaRPr lang="zh-CN" altLang="en-US" sz="2200" dirty="0" smtClean="0">
              <a:solidFill>
                <a:schemeClr val="bg1">
                  <a:alpha val="98824"/>
                </a:schemeClr>
              </a:solidFill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右箭头 4"/>
          <p:cNvSpPr/>
          <p:nvPr/>
        </p:nvSpPr>
        <p:spPr bwMode="auto">
          <a:xfrm>
            <a:off x="6621958" y="1750740"/>
            <a:ext cx="432048" cy="2880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endParaRPr lang="zh-CN" altLang="en-US" sz="2200" dirty="0" smtClean="0">
              <a:solidFill>
                <a:srgbClr val="FFFFFF">
                  <a:alpha val="9882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7198022" y="1347614"/>
            <a:ext cx="324036" cy="1080120"/>
          </a:xfrm>
          <a:prstGeom prst="rect">
            <a:avLst/>
          </a:prstGeom>
          <a:pattFill prst="smGrid">
            <a:fgClr>
              <a:schemeClr val="bg2"/>
            </a:fgClr>
            <a:bgClr>
              <a:schemeClr val="tx1"/>
            </a:bgClr>
          </a:patt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r>
              <a:rPr lang="en-US" altLang="zh-CN" sz="2200" dirty="0" smtClean="0">
                <a:solidFill>
                  <a:schemeClr val="bg1">
                    <a:alpha val="98824"/>
                  </a:schemeClr>
                </a:solidFill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W</a:t>
            </a:r>
            <a:endParaRPr lang="zh-CN" altLang="en-US" sz="2200" dirty="0" smtClean="0">
              <a:solidFill>
                <a:schemeClr val="bg1">
                  <a:alpha val="98824"/>
                </a:schemeClr>
              </a:solidFill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椭圆 9"/>
          <p:cNvSpPr/>
          <p:nvPr/>
        </p:nvSpPr>
        <p:spPr bwMode="auto">
          <a:xfrm>
            <a:off x="7740352" y="1894756"/>
            <a:ext cx="72008" cy="72008"/>
          </a:xfrm>
          <a:prstGeom prst="ellipse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endParaRPr lang="zh-CN" altLang="en-US" sz="2200" dirty="0" smtClean="0">
              <a:solidFill>
                <a:srgbClr val="FFFFFF">
                  <a:alpha val="9882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7956376" y="1750740"/>
            <a:ext cx="648072" cy="324036"/>
          </a:xfrm>
          <a:prstGeom prst="rect">
            <a:avLst/>
          </a:prstGeom>
          <a:pattFill prst="smGrid">
            <a:fgClr>
              <a:schemeClr val="bg2"/>
            </a:fgClr>
            <a:bgClr>
              <a:schemeClr val="tx1"/>
            </a:bgClr>
          </a:patt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r>
              <a:rPr lang="en-US" altLang="zh-CN" sz="2200" dirty="0" smtClean="0">
                <a:solidFill>
                  <a:schemeClr val="bg1">
                    <a:alpha val="98824"/>
                  </a:schemeClr>
                </a:solidFill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H</a:t>
            </a:r>
            <a:endParaRPr lang="zh-CN" altLang="en-US" sz="2200" dirty="0" smtClean="0">
              <a:solidFill>
                <a:schemeClr val="bg1">
                  <a:alpha val="98824"/>
                </a:schemeClr>
              </a:solidFill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文本占位符 3"/>
          <p:cNvSpPr>
            <a:spLocks noGrp="1" noChangeArrowheads="1"/>
          </p:cNvSpPr>
          <p:nvPr/>
        </p:nvSpPr>
        <p:spPr bwMode="auto">
          <a:xfrm>
            <a:off x="5796136" y="2542829"/>
            <a:ext cx="3096344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30000"/>
              </a:lnSpc>
              <a:spcBef>
                <a:spcPct val="20000"/>
              </a:spcBef>
              <a:buSzPct val="90000"/>
            </a:pPr>
            <a:r>
              <a:rPr lang="en-US" altLang="zh-CN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 (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m</a:t>
            </a:r>
            <a:r>
              <a:rPr lang="en-US" altLang="zh-CN" sz="2000" dirty="0" err="1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×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n</a:t>
            </a:r>
            <a:r>
              <a:rPr lang="en-US" altLang="zh-CN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)       (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m</a:t>
            </a:r>
            <a:r>
              <a:rPr lang="en-US" altLang="zh-CN" sz="2000" dirty="0" err="1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×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l</a:t>
            </a:r>
            <a:r>
              <a:rPr lang="en-US" altLang="zh-CN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)  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（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l</a:t>
            </a:r>
            <a:r>
              <a:rPr lang="en-US" altLang="zh-CN" sz="2000" dirty="0" err="1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×</a:t>
            </a:r>
            <a:r>
              <a:rPr lang="en-US" altLang="zh-CN" sz="2000" i="1" dirty="0" err="1" smtClean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  <a:sym typeface="Segoe UI" panose="020B0502040204020203" pitchFamily="34" charset="0"/>
              </a:rPr>
              <a:t>n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  <a:sym typeface="Segoe UI" panose="020B0502040204020203" pitchFamily="34" charset="0"/>
              </a:rPr>
              <a:t>）</a:t>
            </a:r>
            <a:endParaRPr lang="en-US" altLang="zh-CN" sz="2000" baseline="-25000" dirty="0" smtClean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  <a:sym typeface="Segoe UI" panose="020B0502040204020203" pitchFamily="3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372200" y="3150346"/>
            <a:ext cx="18630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图</a:t>
            </a:r>
            <a:r>
              <a:rPr lang="en-US" altLang="zh-CN" sz="16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1  </a:t>
            </a:r>
            <a:r>
              <a:rPr lang="zh-CN" altLang="en-US" sz="16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非负矩阵分解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3"/>
          <p:cNvSpPr>
            <a:spLocks noGrp="1" noChangeArrowheads="1"/>
          </p:cNvSpPr>
          <p:nvPr/>
        </p:nvSpPr>
        <p:spPr bwMode="auto">
          <a:xfrm>
            <a:off x="323528" y="555526"/>
            <a:ext cx="8364538" cy="26359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>
            <a:spAutoFit/>
          </a:bodyPr>
          <a:lstStyle/>
          <a:p>
            <a:pPr marL="346075" indent="-346075">
              <a:lnSpc>
                <a:spcPct val="70000"/>
              </a:lnSpc>
              <a:spcBef>
                <a:spcPct val="20000"/>
              </a:spcBef>
              <a:buSzPct val="90000"/>
            </a:pPr>
            <a:r>
              <a:rPr lang="zh-CN" altLang="en-US" sz="2400" b="1" dirty="0" smtClean="0">
                <a:latin typeface="Segoe UI" panose="020B0502040204020203" pitchFamily="34" charset="0"/>
                <a:sym typeface="Segoe UI" panose="020B0502040204020203" pitchFamily="34" charset="0"/>
              </a:rPr>
              <a:t>    再生核希尔伯特空间非负矩阵分解</a:t>
            </a:r>
            <a:endParaRPr lang="zh-CN" altLang="en-US" sz="2400" b="1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547664" y="2427734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4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标函数</a:t>
            </a:r>
            <a:r>
              <a:rPr lang="zh-CN" altLang="en-US" sz="2400" dirty="0" smtClean="0"/>
              <a:t>：</a:t>
            </a:r>
            <a:endParaRPr lang="zh-CN" alt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971600" y="3507854"/>
                <a:ext cx="7840095" cy="70788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zh-CN" altLang="el-GR" sz="2000" i="1" smtClean="0">
                        <a:solidFill>
                          <a:schemeClr val="tx1"/>
                        </a:solidFill>
                        <a:latin typeface="Cambria Math"/>
                        <a:ea typeface="Cambria Math"/>
                        <a:cs typeface="Arial Unicode MS" panose="020B0604020202020204" pitchFamily="34" charset="-122"/>
                      </a:rPr>
                      <m:t>𝜙</m:t>
                    </m:r>
                    <m:d>
                      <m:dPr>
                        <m:ctrlPr>
                          <a:rPr lang="en-US" altLang="zh-CN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/>
                            <a:cs typeface="Arial Unicode MS" panose="020B0604020202020204" pitchFamily="34" charset="-122"/>
                          </a:rPr>
                        </m:ctrlPr>
                      </m:dPr>
                      <m:e>
                        <m:r>
                          <a:rPr lang="en-US" altLang="zh-CN" sz="2000" i="1" smtClean="0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  <a:cs typeface="Arial Unicode MS" panose="020B0604020202020204" pitchFamily="34" charset="-122"/>
                          </a:rPr>
                          <m:t>∙</m:t>
                        </m:r>
                      </m:e>
                    </m:d>
                  </m:oMath>
                </a14:m>
                <a:r>
                  <a:rPr lang="zh-CN" altLang="en-US" sz="2000" dirty="0" smtClean="0">
                    <a:solidFill>
                      <a:schemeClr val="tx1"/>
                    </a:solidFill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是一个映射函数。</a:t>
                </a:r>
                <a:endParaRPr lang="en-US" altLang="zh-CN" sz="2000" dirty="0" smtClean="0">
                  <a:solidFill>
                    <a:schemeClr val="tx1"/>
                  </a:solidFill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altLang="zh-CN" sz="2000" i="1" dirty="0" smtClean="0">
                    <a:solidFill>
                      <a:schemeClr val="tx1"/>
                    </a:solidFill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S</a:t>
                </a:r>
                <a:r>
                  <a:rPr lang="zh-CN" altLang="en-US" sz="2000" dirty="0" smtClean="0">
                    <a:solidFill>
                      <a:schemeClr val="tx1"/>
                    </a:solidFill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是为权重</a:t>
                </a:r>
                <a:r>
                  <a:rPr lang="zh-CN" altLang="en-US" sz="20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矩阵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 smtClean="0">
                            <a:latin typeface="Cambria Math" panose="02040503050406030204" pitchFamily="18" charset="0"/>
                            <a:ea typeface="Arial Unicode MS" panose="020B0604020202020204" pitchFamily="34" charset="-122"/>
                            <a:cs typeface="Arial Unicode MS" panose="020B0604020202020204" pitchFamily="34" charset="-122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/>
                            <a:ea typeface="Arial Unicode MS" panose="020B0604020202020204" pitchFamily="34" charset="-122"/>
                            <a:cs typeface="Arial Unicode MS" panose="020B0604020202020204" pitchFamily="34" charset="-122"/>
                          </a:rPr>
                          <m:t>𝑆</m:t>
                        </m:r>
                      </m:e>
                      <m:sub>
                        <m:r>
                          <a:rPr lang="en-US" altLang="zh-CN" sz="2000" i="1" smtClean="0">
                            <a:latin typeface="Cambria Math"/>
                            <a:ea typeface="Cambria Math"/>
                            <a:cs typeface="Arial Unicode MS" panose="020B0604020202020204" pitchFamily="34" charset="-122"/>
                          </a:rPr>
                          <m:t>⋅</m:t>
                        </m:r>
                        <m:r>
                          <a:rPr lang="en-US" altLang="zh-CN" sz="2000" b="0" i="1" smtClean="0">
                            <a:latin typeface="Cambria Math"/>
                            <a:ea typeface="Cambria Math"/>
                            <a:cs typeface="Arial Unicode MS" panose="020B0604020202020204" pitchFamily="34" charset="-122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zh-CN" altLang="en-US" sz="20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是每个特征对构成基</a:t>
                </a:r>
                <a:r>
                  <a:rPr lang="zh-CN" altLang="en-US" sz="20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向量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 smtClean="0">
                            <a:latin typeface="Cambria Math" panose="02040503050406030204" pitchFamily="18" charset="0"/>
                            <a:ea typeface="Arial Unicode MS" panose="020B0604020202020204" pitchFamily="34" charset="-122"/>
                            <a:cs typeface="Arial Unicode MS" panose="020B0604020202020204" pitchFamily="34" charset="-122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/>
                            <a:ea typeface="Arial Unicode MS" panose="020B0604020202020204" pitchFamily="34" charset="-122"/>
                            <a:cs typeface="Arial Unicode MS" panose="020B0604020202020204" pitchFamily="34" charset="-122"/>
                          </a:rPr>
                          <m:t>𝑊</m:t>
                        </m:r>
                      </m:e>
                      <m:sub>
                        <m:r>
                          <a:rPr lang="en-US" altLang="zh-CN" sz="2000" i="1" smtClean="0">
                            <a:latin typeface="Cambria Math"/>
                            <a:ea typeface="Cambria Math"/>
                            <a:cs typeface="Arial Unicode MS" panose="020B0604020202020204" pitchFamily="34" charset="-122"/>
                          </a:rPr>
                          <m:t>∙</m:t>
                        </m:r>
                        <m:r>
                          <a:rPr lang="en-US" altLang="zh-CN" sz="2000" b="0" i="1" smtClean="0">
                            <a:latin typeface="Cambria Math"/>
                            <a:ea typeface="Cambria Math"/>
                            <a:cs typeface="Arial Unicode MS" panose="020B0604020202020204" pitchFamily="34" charset="-122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zh-CN" altLang="en-US" sz="20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所</a:t>
                </a:r>
                <a:r>
                  <a:rPr lang="zh-CN" altLang="en-US" sz="20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贡献的权重。</a:t>
                </a:r>
                <a:endParaRPr lang="zh-CN" altLang="en-US" sz="2000" dirty="0">
                  <a:solidFill>
                    <a:schemeClr val="tx1"/>
                  </a:solidFill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1600" y="3507854"/>
                <a:ext cx="7840095" cy="707886"/>
              </a:xfrm>
              <a:prstGeom prst="rect">
                <a:avLst/>
              </a:prstGeom>
              <a:blipFill rotWithShape="1">
                <a:blip r:embed="rId4" cstate="print"/>
                <a:stretch>
                  <a:fillRect l="-622" t="-5983" b="-119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/>
        </p:nvGraphicFramePr>
        <p:xfrm>
          <a:off x="3347864" y="2355726"/>
          <a:ext cx="3500438" cy="76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Equation" r:id="rId5" imgW="37795200" imgH="8229600" progId="Equation.DSMT4">
                  <p:embed/>
                </p:oleObj>
              </mc:Choice>
              <mc:Fallback>
                <p:oleObj name="Equation" r:id="rId5" imgW="37795200" imgH="8229600" progId="Equation.DSMT4">
                  <p:embed/>
                  <p:pic>
                    <p:nvPicPr>
                      <p:cNvPr id="0" name="图片 3072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47864" y="2355726"/>
                        <a:ext cx="3500438" cy="765175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对象 10"/>
          <p:cNvGraphicFramePr>
            <a:graphicFrameLocks noChangeAspect="1"/>
          </p:cNvGraphicFramePr>
          <p:nvPr/>
        </p:nvGraphicFramePr>
        <p:xfrm>
          <a:off x="1440507" y="1286644"/>
          <a:ext cx="2411413" cy="78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Equation" r:id="rId7" imgW="24688800" imgH="7924800" progId="Equation.DSMT4">
                  <p:embed/>
                </p:oleObj>
              </mc:Choice>
              <mc:Fallback>
                <p:oleObj name="Equation" r:id="rId7" imgW="24688800" imgH="7924800" progId="Equation.DSMT4">
                  <p:embed/>
                  <p:pic>
                    <p:nvPicPr>
                      <p:cNvPr id="0" name="图片 3073"/>
                      <p:cNvPicPr>
                        <a:picLocks noChangeAspect="1"/>
                      </p:cNvPicPr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40507" y="1286644"/>
                        <a:ext cx="2411413" cy="7810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对象 11"/>
          <p:cNvGraphicFramePr>
            <a:graphicFrameLocks noChangeAspect="1"/>
          </p:cNvGraphicFramePr>
          <p:nvPr/>
        </p:nvGraphicFramePr>
        <p:xfrm>
          <a:off x="5107707" y="1276350"/>
          <a:ext cx="2560637" cy="78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Equation" r:id="rId9" imgW="26212800" imgH="7924800" progId="Equation.DSMT4">
                  <p:embed/>
                </p:oleObj>
              </mc:Choice>
              <mc:Fallback>
                <p:oleObj name="Equation" r:id="rId9" imgW="26212800" imgH="7924800" progId="Equation.DSMT4">
                  <p:embed/>
                  <p:pic>
                    <p:nvPicPr>
                      <p:cNvPr id="0" name="图片 3074"/>
                      <p:cNvPicPr>
                        <a:picLocks noChangeAspect="1"/>
                      </p:cNvPicPr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107707" y="1276350"/>
                        <a:ext cx="2560637" cy="7810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右箭头 12"/>
          <p:cNvSpPr/>
          <p:nvPr/>
        </p:nvSpPr>
        <p:spPr bwMode="auto">
          <a:xfrm>
            <a:off x="4139952" y="1635646"/>
            <a:ext cx="679687" cy="144016"/>
          </a:xfrm>
          <a:prstGeom prst="rightArrow">
            <a:avLst/>
          </a:prstGeom>
          <a:solidFill>
            <a:srgbClr val="FFFF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913765"/>
            <a:endParaRPr lang="zh-CN" altLang="en-US" sz="2200" dirty="0" smtClean="0">
              <a:solidFill>
                <a:srgbClr val="FFFFFF">
                  <a:alpha val="9882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3"/>
          <p:cNvSpPr>
            <a:spLocks noGrp="1" noChangeArrowheads="1"/>
          </p:cNvSpPr>
          <p:nvPr/>
        </p:nvSpPr>
        <p:spPr bwMode="auto">
          <a:xfrm>
            <a:off x="395536" y="483518"/>
            <a:ext cx="8364538" cy="26359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>
            <a:spAutoFit/>
          </a:bodyPr>
          <a:lstStyle/>
          <a:p>
            <a:pPr marL="346075" indent="-346075">
              <a:lnSpc>
                <a:spcPct val="70000"/>
              </a:lnSpc>
              <a:spcBef>
                <a:spcPct val="20000"/>
              </a:spcBef>
              <a:buSzPct val="90000"/>
            </a:pPr>
            <a:r>
              <a:rPr lang="zh-CN" altLang="en-US" sz="2400" b="1" dirty="0" smtClean="0">
                <a:latin typeface="Segoe UI" panose="020B0502040204020203" pitchFamily="34" charset="0"/>
                <a:sym typeface="Segoe UI" panose="020B0502040204020203" pitchFamily="34" charset="0"/>
              </a:rPr>
              <a:t>再生核希尔伯特空间非负矩阵分解</a:t>
            </a:r>
            <a:endParaRPr lang="zh-CN" altLang="en-US" sz="2400" b="1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683568" y="1275606"/>
                <a:ext cx="3240360" cy="230832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核函数：</a:t>
                </a:r>
                <a:endParaRPr lang="en-US" altLang="zh-CN" sz="1600" dirty="0" smtClean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1.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线性核函数（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near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）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： </a:t>
                </a:r>
                <a:endParaRPr lang="en-US" altLang="zh-CN" sz="1600" dirty="0" smtClean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2.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多项式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核函数（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lynomial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）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：</a:t>
                </a:r>
                <a:endParaRPr lang="en-US" altLang="zh-CN" sz="1600" dirty="0" smtClean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3.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径向基核函数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（</a:t>
                </a:r>
                <a:r>
                  <a:rPr lang="en-US" altLang="zh-CN" sz="16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BF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）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：</a:t>
                </a:r>
                <a:endParaRPr lang="en-US" altLang="zh-CN" sz="1600" dirty="0" smtClean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4. </a:t>
                </a:r>
                <a:r>
                  <a:rPr lang="en-US" altLang="zh-CN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ellinger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核函数</a:t>
                </a: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：</a:t>
                </a:r>
                <a:endParaRPr lang="en-US" altLang="zh-CN" sz="1600" dirty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 smtClean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其中</a:t>
                </a:r>
                <a14:m>
                  <m:oMath xmlns:m="http://schemas.openxmlformats.org/officeDocument/2006/math">
                    <m:r>
                      <a:rPr lang="zh-CN" altLang="en-US" sz="1600" i="1" dirty="0">
                        <a:latin typeface="Cambria Math"/>
                        <a:ea typeface="Arial Unicode MS" panose="020B0604020202020204" pitchFamily="34" charset="-122"/>
                        <a:cs typeface="Arial Unicode MS" panose="020B0604020202020204" pitchFamily="34" charset="-122"/>
                      </a:rPr>
                      <m:t>𝛾</m:t>
                    </m:r>
                  </m:oMath>
                </a14:m>
                <a:r>
                  <a:rPr lang="zh-CN" altLang="en-US" sz="16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、</a:t>
                </a:r>
                <a:r>
                  <a:rPr lang="en-US" altLang="zh-CN" sz="16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lang="zh-CN" alt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、</a:t>
                </a:r>
                <a:r>
                  <a:rPr lang="en-US" altLang="zh-CN" sz="16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</a:t>
                </a:r>
                <a:r>
                  <a:rPr lang="zh-CN" altLang="en-US" sz="1600" dirty="0">
                    <a:latin typeface="宋体" panose="02010600030101010101" pitchFamily="2" charset="-122"/>
                    <a:cs typeface="Arial Unicode MS" panose="020B0604020202020204" pitchFamily="34" charset="-122"/>
                  </a:rPr>
                  <a:t>是核参数</a:t>
                </a:r>
                <a:endParaRPr lang="en-US" altLang="zh-CN" sz="1600" dirty="0">
                  <a:latin typeface="宋体" panose="02010600030101010101" pitchFamily="2" charset="-122"/>
                  <a:cs typeface="Arial Unicode MS" panose="020B0604020202020204" pitchFamily="34" charset="-122"/>
                </a:endParaRPr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1275606"/>
                <a:ext cx="3240360" cy="2308324"/>
              </a:xfrm>
              <a:prstGeom prst="rect">
                <a:avLst/>
              </a:prstGeom>
              <a:blipFill rotWithShape="1">
                <a:blip r:embed="rId4" cstate="print"/>
                <a:stretch>
                  <a:fillRect l="-940" b="-52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/>
        </p:nvGraphicFramePr>
        <p:xfrm>
          <a:off x="3707904" y="1779662"/>
          <a:ext cx="1368152" cy="2850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Equation" r:id="rId5" imgW="29260800" imgH="6096000" progId="Equation.DSMT4">
                  <p:embed/>
                </p:oleObj>
              </mc:Choice>
              <mc:Fallback>
                <p:oleObj name="Equation" r:id="rId5" imgW="29260800" imgH="6096000" progId="Equation.DSMT4">
                  <p:embed/>
                  <p:pic>
                    <p:nvPicPr>
                      <p:cNvPr id="0" name="图片 4096"/>
                      <p:cNvPicPr>
                        <a:picLocks noChangeAspect="1"/>
                      </p:cNvPicPr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07904" y="1779662"/>
                        <a:ext cx="1368152" cy="285031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对象 8"/>
          <p:cNvGraphicFramePr>
            <a:graphicFrameLocks noChangeAspect="1"/>
          </p:cNvGraphicFramePr>
          <p:nvPr/>
        </p:nvGraphicFramePr>
        <p:xfrm>
          <a:off x="3707904" y="2098063"/>
          <a:ext cx="2232248" cy="326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Equation" r:id="rId7" imgW="49987200" imgH="7315200" progId="Equation.DSMT4">
                  <p:embed/>
                </p:oleObj>
              </mc:Choice>
              <mc:Fallback>
                <p:oleObj name="Equation" r:id="rId7" imgW="49987200" imgH="7315200" progId="Equation.DSMT4">
                  <p:embed/>
                  <p:pic>
                    <p:nvPicPr>
                      <p:cNvPr id="0" name="图片 4097"/>
                      <p:cNvPicPr>
                        <a:picLocks noChangeAspect="1"/>
                      </p:cNvPicPr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07904" y="2098063"/>
                        <a:ext cx="2232248" cy="32667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对象 9"/>
          <p:cNvGraphicFramePr>
            <a:graphicFrameLocks noChangeAspect="1"/>
          </p:cNvGraphicFramePr>
          <p:nvPr/>
        </p:nvGraphicFramePr>
        <p:xfrm>
          <a:off x="3707904" y="2476501"/>
          <a:ext cx="2376264" cy="308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Equation" r:id="rId9" imgW="56388000" imgH="7315200" progId="Equation.DSMT4">
                  <p:embed/>
                </p:oleObj>
              </mc:Choice>
              <mc:Fallback>
                <p:oleObj name="Equation" r:id="rId9" imgW="56388000" imgH="7315200" progId="Equation.DSMT4">
                  <p:embed/>
                  <p:pic>
                    <p:nvPicPr>
                      <p:cNvPr id="0" name="图片 4098"/>
                      <p:cNvPicPr>
                        <a:picLocks noChangeAspect="1"/>
                      </p:cNvPicPr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707904" y="2476501"/>
                        <a:ext cx="2376264" cy="308272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对象 10"/>
          <p:cNvGraphicFramePr>
            <a:graphicFrameLocks noChangeAspect="1"/>
          </p:cNvGraphicFramePr>
          <p:nvPr/>
        </p:nvGraphicFramePr>
        <p:xfrm>
          <a:off x="3707904" y="2818739"/>
          <a:ext cx="1440160" cy="326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Equation" r:id="rId11" imgW="32308800" imgH="7315200" progId="Equation.DSMT4">
                  <p:embed/>
                </p:oleObj>
              </mc:Choice>
              <mc:Fallback>
                <p:oleObj name="Equation" r:id="rId11" imgW="32308800" imgH="7315200" progId="Equation.DSMT4">
                  <p:embed/>
                  <p:pic>
                    <p:nvPicPr>
                      <p:cNvPr id="0" name="图片 4099"/>
                      <p:cNvPicPr>
                        <a:picLocks noChangeAspect="1"/>
                      </p:cNvPicPr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07904" y="2818739"/>
                        <a:ext cx="1440160" cy="326074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1296" name="图片 4" descr="c:\users\lenovo\appdata\roaming\360se6\User Data\temp\t01440cd13f3da8146e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985" y="3291830"/>
            <a:ext cx="3504431" cy="1371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矩形 11"/>
          <p:cNvSpPr/>
          <p:nvPr/>
        </p:nvSpPr>
        <p:spPr>
          <a:xfrm>
            <a:off x="5579819" y="4662388"/>
            <a:ext cx="1712328" cy="4124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20000"/>
              </a:spcBef>
              <a:buSzPct val="90000"/>
            </a:pPr>
            <a:r>
              <a:rPr lang="zh-CN" altLang="en-US" sz="16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图</a:t>
            </a:r>
            <a:r>
              <a:rPr lang="en-US" altLang="zh-CN" sz="16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 </a:t>
            </a:r>
            <a:r>
              <a:rPr lang="en-US" altLang="zh-CN" sz="16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2  </a:t>
            </a:r>
            <a:r>
              <a:rPr lang="zh-CN" altLang="en-US" sz="1600" b="1" dirty="0" smtClean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核</a:t>
            </a:r>
            <a:r>
              <a:rPr lang="zh-CN" altLang="en-US" sz="16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rPr>
              <a:t>函数映射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9585" name="Picture 1" descr="C:\Users\Administrator\Desktop\589850-20151229155744573-102037312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843558"/>
            <a:ext cx="3453853" cy="3168352"/>
          </a:xfrm>
          <a:prstGeom prst="rect">
            <a:avLst/>
          </a:prstGeom>
          <a:noFill/>
        </p:spPr>
      </p:pic>
      <p:sp>
        <p:nvSpPr>
          <p:cNvPr id="15" name="矩形 14"/>
          <p:cNvSpPr/>
          <p:nvPr/>
        </p:nvSpPr>
        <p:spPr>
          <a:xfrm>
            <a:off x="3851920" y="2643758"/>
            <a:ext cx="475252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800" dirty="0" smtClean="0"/>
              <a:t>       PCA</a:t>
            </a:r>
            <a:r>
              <a:rPr lang="zh-CN" altLang="en-US" sz="1800" dirty="0" smtClean="0"/>
              <a:t>将所有的样本（特征向量集合）作为一个整体对待，去寻找一个均方误差最小意义下的最优线性映射投影，而忽略了类别属性，而它所忽略的投影方向有可能刚好包含了重要的可分性信息</a:t>
            </a:r>
            <a:r>
              <a:rPr lang="en-US" altLang="zh-CN" sz="1800" dirty="0" smtClean="0"/>
              <a:t>.</a:t>
            </a:r>
            <a:r>
              <a:rPr lang="zh-CN" altLang="en-US" sz="1800" dirty="0" smtClean="0"/>
              <a:t>而</a:t>
            </a:r>
            <a:r>
              <a:rPr lang="en-US" altLang="zh-CN" sz="1800" dirty="0" smtClean="0"/>
              <a:t>NMF</a:t>
            </a:r>
            <a:r>
              <a:rPr lang="zh-CN" altLang="en-US" sz="1800" dirty="0" smtClean="0"/>
              <a:t>与</a:t>
            </a:r>
            <a:r>
              <a:rPr lang="en-US" altLang="zh-CN" sz="1800" dirty="0" smtClean="0"/>
              <a:t>KNMF</a:t>
            </a:r>
            <a:r>
              <a:rPr lang="zh-CN" altLang="en-US" sz="1800" dirty="0" smtClean="0"/>
              <a:t>则能比较好的保留样本的细节信息。</a:t>
            </a:r>
            <a:endParaRPr lang="zh-CN" altLang="en-US" sz="1800" dirty="0"/>
          </a:p>
        </p:txBody>
      </p:sp>
      <p:sp>
        <p:nvSpPr>
          <p:cNvPr id="16" name="TextBox 15"/>
          <p:cNvSpPr txBox="1"/>
          <p:nvPr/>
        </p:nvSpPr>
        <p:spPr>
          <a:xfrm>
            <a:off x="3923928" y="1131590"/>
            <a:ext cx="4536504" cy="1431161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altLang="zh-CN" sz="1800" dirty="0" smtClean="0"/>
              <a:t>      </a:t>
            </a:r>
            <a:r>
              <a:rPr lang="en-US" altLang="zh-CN" sz="1800" dirty="0" err="1" smtClean="0"/>
              <a:t>PCANet</a:t>
            </a:r>
            <a:r>
              <a:rPr lang="zh-CN" altLang="en-US" sz="1800" dirty="0" smtClean="0"/>
              <a:t>是国内技术大牛提出的一种深度学习框架，主要由主成分分析，二值化哈希编码与分块直方图三个部分组成。该方法效率非常高，识别率较之之前的方法提升明显。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3568" y="4155926"/>
            <a:ext cx="2880320" cy="5170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2400" dirty="0" smtClean="0">
                <a:solidFill>
                  <a:schemeClr val="tx1">
                    <a:alpha val="99000"/>
                  </a:schemeClr>
                </a:solidFill>
              </a:rPr>
              <a:t>图三</a:t>
            </a:r>
            <a:r>
              <a:rPr lang="en-US" altLang="zh-CN" sz="2400" dirty="0" err="1" smtClean="0">
                <a:solidFill>
                  <a:schemeClr val="tx1">
                    <a:alpha val="99000"/>
                  </a:schemeClr>
                </a:solidFill>
              </a:rPr>
              <a:t>PCANet</a:t>
            </a:r>
            <a:r>
              <a:rPr lang="zh-CN" altLang="en-US" sz="2400" dirty="0" smtClean="0">
                <a:solidFill>
                  <a:schemeClr val="tx1">
                    <a:alpha val="99000"/>
                  </a:schemeClr>
                </a:solidFill>
              </a:rPr>
              <a:t>框架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323528" y="843558"/>
            <a:ext cx="8483014" cy="540158"/>
            <a:chOff x="381000" y="907870"/>
            <a:chExt cx="8382000" cy="540158"/>
          </a:xfrm>
        </p:grpSpPr>
        <p:sp>
          <p:nvSpPr>
            <p:cNvPr id="7" name="Rectangle 6"/>
            <p:cNvSpPr/>
            <p:nvPr/>
          </p:nvSpPr>
          <p:spPr bwMode="auto">
            <a:xfrm>
              <a:off x="381000" y="907870"/>
              <a:ext cx="8382000" cy="540158"/>
            </a:xfrm>
            <a:prstGeom prst="rect">
              <a:avLst/>
            </a:prstGeom>
            <a:solidFill>
              <a:schemeClr val="accent5"/>
            </a:solidFill>
            <a:ln w="38100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soft" dir="tl">
                <a:rot lat="0" lon="0" rev="20000000"/>
              </a:lightRig>
            </a:scene3d>
            <a:sp3d prstMaterial="matte"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102875" rIns="68580" bIns="102875" numCol="1" rtlCol="0" anchor="t" anchorCtr="0" compatLnSpc="1">
              <a:spAutoFit/>
            </a:bodyPr>
            <a:lstStyle/>
            <a:p>
              <a:pPr marL="345440" indent="-345440" defTabSz="685800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SzPct val="90000"/>
                <a:buFontTx/>
                <a:buBlip>
                  <a:blip r:embed="rId3"/>
                </a:buBlip>
              </a:pPr>
              <a:endParaRPr lang="en-US" sz="2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81000" y="988625"/>
              <a:ext cx="8261968" cy="401652"/>
            </a:xfrm>
            <a:prstGeom prst="rect">
              <a:avLst/>
            </a:prstGeom>
          </p:spPr>
          <p:txBody>
            <a:bodyPr wrap="square" lIns="68583" tIns="34292" rIns="68583" bIns="34292">
              <a:spAutoFit/>
            </a:bodyPr>
            <a:lstStyle/>
            <a:p>
              <a:pPr defTabSz="685800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SzPct val="105000"/>
              </a:pPr>
              <a:r>
                <a:rPr lang="en-US" altLang="zh-CN" sz="2400" dirty="0" err="1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NMFNet</a:t>
              </a:r>
              <a:r>
                <a:rPr lang="zh-CN" altLang="en-US" sz="2400" dirty="0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与</a:t>
              </a:r>
              <a:r>
                <a:rPr lang="en-US" altLang="zh-CN" sz="2400" dirty="0" err="1" smtClean="0"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ea typeface="+mn-ea"/>
                </a:rPr>
                <a:t>KNMFNet</a:t>
              </a:r>
              <a:endParaRPr lang="zh-CN" altLang="en-US" sz="2400" b="1" dirty="0">
                <a:solidFill>
                  <a:srgbClr val="FFFFFF">
                    <a:alpha val="99000"/>
                  </a:srgbClr>
                </a:solidFill>
                <a:latin typeface="Segoe UI" panose="020B0502040204020203"/>
                <a:ea typeface="+mn-ea"/>
              </a:endParaRPr>
            </a:p>
          </p:txBody>
        </p:sp>
      </p:grpSp>
      <p:sp>
        <p:nvSpPr>
          <p:cNvPr id="17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pPr eaLnBrk="1" hangingPunct="1"/>
            <a:r>
              <a:rPr lang="zh-CN" altLang="en-US" b="1" dirty="0">
                <a:solidFill>
                  <a:schemeClr val="tx1"/>
                </a:solidFill>
                <a:ea typeface="宋体" panose="02010600030101010101" pitchFamily="2" charset="-122"/>
              </a:rPr>
              <a:t>完成</a:t>
            </a:r>
            <a:r>
              <a:rPr lang="zh-CN" altLang="en-US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的主要工作</a:t>
            </a:r>
          </a:p>
        </p:txBody>
      </p:sp>
      <p:pic>
        <p:nvPicPr>
          <p:cNvPr id="57753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7624" y="1419622"/>
            <a:ext cx="5915025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 noChangeArrowheads="1"/>
          </p:cNvSpPr>
          <p:nvPr>
            <p:ph type="title" idx="4294967295"/>
          </p:nvPr>
        </p:nvSpPr>
        <p:spPr>
          <a:xfrm>
            <a:off x="388938" y="171450"/>
            <a:ext cx="8364537" cy="457200"/>
          </a:xfrm>
        </p:spPr>
        <p:txBody>
          <a:bodyPr/>
          <a:lstStyle/>
          <a:p>
            <a:r>
              <a:rPr lang="zh-CN" altLang="en-US" b="1" dirty="0">
                <a:solidFill>
                  <a:schemeClr val="tx1"/>
                </a:solidFill>
                <a:ea typeface="宋体" panose="02010600030101010101" pitchFamily="2" charset="-122"/>
              </a:rPr>
              <a:t>完成的主要工</a:t>
            </a:r>
            <a:r>
              <a:rPr lang="zh-CN" altLang="en-US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作</a:t>
            </a:r>
            <a:r>
              <a:rPr lang="en-US" altLang="zh-CN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(</a:t>
            </a:r>
            <a:r>
              <a:rPr lang="en-US" altLang="zh-CN" b="1" dirty="0" err="1" smtClean="0">
                <a:solidFill>
                  <a:schemeClr val="tx1"/>
                </a:solidFill>
                <a:ea typeface="宋体" panose="02010600030101010101" pitchFamily="2" charset="-122"/>
              </a:rPr>
              <a:t>KNMFNet</a:t>
            </a:r>
            <a:r>
              <a:rPr lang="en-US" altLang="zh-CN" b="1" dirty="0" smtClean="0">
                <a:solidFill>
                  <a:schemeClr val="tx1"/>
                </a:solidFill>
                <a:ea typeface="宋体" panose="02010600030101010101" pitchFamily="2" charset="-122"/>
              </a:rPr>
              <a:t>)</a:t>
            </a:r>
            <a:endParaRPr lang="zh-CN" altLang="en-US" b="1" dirty="0" smtClean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pic>
        <p:nvPicPr>
          <p:cNvPr id="5939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1640" y="1283920"/>
            <a:ext cx="5618981" cy="31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FC86OXUUSPUYMxdDFZ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wNdl_Dlkiv.a9T4s.9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hiHPoAgUCSFvfDntMV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heme/theme1.xml><?xml version="1.0" encoding="utf-8"?>
<a:theme xmlns:a="http://schemas.openxmlformats.org/drawingml/2006/main" name="TechEd_2012_Template_16x9">
  <a:themeElements>
    <a:clrScheme name="">
      <a:dk1>
        <a:srgbClr val="1D4C7C"/>
      </a:dk1>
      <a:lt1>
        <a:srgbClr val="FFFFFF"/>
      </a:lt1>
      <a:dk2>
        <a:srgbClr val="363535"/>
      </a:dk2>
      <a:lt2>
        <a:srgbClr val="3397D3"/>
      </a:lt2>
      <a:accent1>
        <a:srgbClr val="3397D3"/>
      </a:accent1>
      <a:accent2>
        <a:srgbClr val="8E499C"/>
      </a:accent2>
      <a:accent3>
        <a:srgbClr val="AEAEAE"/>
      </a:accent3>
      <a:accent4>
        <a:srgbClr val="DADADA"/>
      </a:accent4>
      <a:accent5>
        <a:srgbClr val="ADC9E6"/>
      </a:accent5>
      <a:accent6>
        <a:srgbClr val="80418D"/>
      </a:accent6>
      <a:hlink>
        <a:srgbClr val="FFFFFF"/>
      </a:hlink>
      <a:folHlink>
        <a:srgbClr val="FFFFFF"/>
      </a:folHlink>
    </a:clrScheme>
    <a:fontScheme name="TechEd_2012_Template_16x9">
      <a:majorFont>
        <a:latin typeface="Segoe UI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TechEd_2012_Template_16x9">
  <a:themeElements>
    <a:clrScheme name="自定义 23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/>
      <a:lstStyle>
        <a:defPPr algn="ctr" defTabSz="913765">
          <a:defRPr sz="2200" dirty="0" smtClean="0">
            <a:solidFill>
              <a:srgbClr val="FFFFFF">
                <a:alpha val="98824"/>
              </a:srgbClr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/>
      <a:lstStyle>
        <a:defPPr algn="ctr" defTabSz="913765">
          <a:defRPr sz="2200" dirty="0" smtClean="0">
            <a:solidFill>
              <a:srgbClr val="FFFFFF">
                <a:alpha val="98824"/>
              </a:srgbClr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">
  <a:themeElements>
    <a:clrScheme name="">
      <a:dk1>
        <a:srgbClr val="1D4C7C"/>
      </a:dk1>
      <a:lt1>
        <a:srgbClr val="FFFFFF"/>
      </a:lt1>
      <a:dk2>
        <a:srgbClr val="363535"/>
      </a:dk2>
      <a:lt2>
        <a:srgbClr val="3397D3"/>
      </a:lt2>
      <a:accent1>
        <a:srgbClr val="3397D3"/>
      </a:accent1>
      <a:accent2>
        <a:srgbClr val="8E499C"/>
      </a:accent2>
      <a:accent3>
        <a:srgbClr val="AEAEAE"/>
      </a:accent3>
      <a:accent4>
        <a:srgbClr val="DADADA"/>
      </a:accent4>
      <a:accent5>
        <a:srgbClr val="ADC9E6"/>
      </a:accent5>
      <a:accent6>
        <a:srgbClr val="80418D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with Consolas font for code slides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3397D3"/>
      </a:accent1>
      <a:accent2>
        <a:srgbClr val="8E499C"/>
      </a:accent2>
      <a:accent3>
        <a:srgbClr val="FFFFFF"/>
      </a:accent3>
      <a:accent4>
        <a:srgbClr val="000000"/>
      </a:accent4>
      <a:accent5>
        <a:srgbClr val="ADC9E6"/>
      </a:accent5>
      <a:accent6>
        <a:srgbClr val="80418D"/>
      </a:accent6>
      <a:hlink>
        <a:srgbClr val="3397D3"/>
      </a:hlink>
      <a:folHlink>
        <a:srgbClr val="E7B921"/>
      </a:folHlink>
    </a:clrScheme>
    <a:fontScheme name="White with Consolas font for code slides">
      <a:majorFont>
        <a:latin typeface="Segoe UI"/>
        <a:ea typeface=""/>
        <a:cs typeface="Segoe UI"/>
      </a:majorFont>
      <a:minorFont>
        <a:latin typeface="Consolas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chEd_2012_Template_16x9">
  <a:themeElements>
    <a:clrScheme name="">
      <a:dk1>
        <a:srgbClr val="1D4C7C"/>
      </a:dk1>
      <a:lt1>
        <a:srgbClr val="FFFFFF"/>
      </a:lt1>
      <a:dk2>
        <a:srgbClr val="363535"/>
      </a:dk2>
      <a:lt2>
        <a:srgbClr val="3397D3"/>
      </a:lt2>
      <a:accent1>
        <a:srgbClr val="3397D3"/>
      </a:accent1>
      <a:accent2>
        <a:srgbClr val="8E499C"/>
      </a:accent2>
      <a:accent3>
        <a:srgbClr val="AEAEAE"/>
      </a:accent3>
      <a:accent4>
        <a:srgbClr val="DADADA"/>
      </a:accent4>
      <a:accent5>
        <a:srgbClr val="ADC9E6"/>
      </a:accent5>
      <a:accent6>
        <a:srgbClr val="80418D"/>
      </a:accent6>
      <a:hlink>
        <a:srgbClr val="3397D3"/>
      </a:hlink>
      <a:folHlink>
        <a:srgbClr val="E7B921"/>
      </a:folHlink>
    </a:clrScheme>
    <a:fontScheme name="1_TechEd_2012_Template_16x9">
      <a:majorFont>
        <a:latin typeface="Segoe UI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chEd_2012_Template_16x9">
  <a:themeElements>
    <a:clrScheme name="">
      <a:dk1>
        <a:srgbClr val="1D4C7C"/>
      </a:dk1>
      <a:lt1>
        <a:srgbClr val="FFFFFF"/>
      </a:lt1>
      <a:dk2>
        <a:srgbClr val="363535"/>
      </a:dk2>
      <a:lt2>
        <a:srgbClr val="3397D3"/>
      </a:lt2>
      <a:accent1>
        <a:srgbClr val="3397D3"/>
      </a:accent1>
      <a:accent2>
        <a:srgbClr val="8E499C"/>
      </a:accent2>
      <a:accent3>
        <a:srgbClr val="AEAEAE"/>
      </a:accent3>
      <a:accent4>
        <a:srgbClr val="DADADA"/>
      </a:accent4>
      <a:accent5>
        <a:srgbClr val="ADC9E6"/>
      </a:accent5>
      <a:accent6>
        <a:srgbClr val="80418D"/>
      </a:accent6>
      <a:hlink>
        <a:srgbClr val="3397D3"/>
      </a:hlink>
      <a:folHlink>
        <a:srgbClr val="E7B921"/>
      </a:folHlink>
    </a:clrScheme>
    <a:fontScheme name="2_TechEd_2012_Template_16x9">
      <a:majorFont>
        <a:latin typeface="Segoe UI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chEd_WindowsAzure_Template_16x9">
  <a:themeElements>
    <a:clrScheme name="">
      <a:dk1>
        <a:srgbClr val="363535"/>
      </a:dk1>
      <a:lt1>
        <a:srgbClr val="FFFFFF"/>
      </a:lt1>
      <a:dk2>
        <a:srgbClr val="000000"/>
      </a:dk2>
      <a:lt2>
        <a:srgbClr val="80BEE4"/>
      </a:lt2>
      <a:accent1>
        <a:srgbClr val="3397D3"/>
      </a:accent1>
      <a:accent2>
        <a:srgbClr val="E7B921"/>
      </a:accent2>
      <a:accent3>
        <a:srgbClr val="AAAAAA"/>
      </a:accent3>
      <a:accent4>
        <a:srgbClr val="DADADA"/>
      </a:accent4>
      <a:accent5>
        <a:srgbClr val="ADC9E6"/>
      </a:accent5>
      <a:accent6>
        <a:srgbClr val="D1A71D"/>
      </a:accent6>
      <a:hlink>
        <a:srgbClr val="3BBEB4"/>
      </a:hlink>
      <a:folHlink>
        <a:srgbClr val="3397D3"/>
      </a:folHlink>
    </a:clrScheme>
    <a:fontScheme name="TechEd_WindowsAzure_Template_16x9">
      <a:majorFont>
        <a:latin typeface="Segoe UI Light"/>
        <a:ea typeface=""/>
        <a:cs typeface="Segoe UI"/>
      </a:majorFont>
      <a:minorFont>
        <a:latin typeface="Segoe UI Light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TechEd_WindowsAzure_Template_16x9">
  <a:themeElements>
    <a:clrScheme name="">
      <a:dk1>
        <a:srgbClr val="363535"/>
      </a:dk1>
      <a:lt1>
        <a:srgbClr val="FFFFFF"/>
      </a:lt1>
      <a:dk2>
        <a:srgbClr val="000000"/>
      </a:dk2>
      <a:lt2>
        <a:srgbClr val="80BEE4"/>
      </a:lt2>
      <a:accent1>
        <a:srgbClr val="3397D3"/>
      </a:accent1>
      <a:accent2>
        <a:srgbClr val="E7B921"/>
      </a:accent2>
      <a:accent3>
        <a:srgbClr val="AAAAAA"/>
      </a:accent3>
      <a:accent4>
        <a:srgbClr val="DADADA"/>
      </a:accent4>
      <a:accent5>
        <a:srgbClr val="ADC9E6"/>
      </a:accent5>
      <a:accent6>
        <a:srgbClr val="D1A71D"/>
      </a:accent6>
      <a:hlink>
        <a:srgbClr val="3BBEB4"/>
      </a:hlink>
      <a:folHlink>
        <a:srgbClr val="3397D3"/>
      </a:folHlink>
    </a:clrScheme>
    <a:fontScheme name="1_TechEd_WindowsAzure_Template_16x9">
      <a:majorFont>
        <a:latin typeface="Segoe UI Light"/>
        <a:ea typeface=""/>
        <a:cs typeface="Segoe UI"/>
      </a:majorFont>
      <a:minorFont>
        <a:latin typeface="Segoe UI Light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TechEd_2012_Template_16x9">
  <a:themeElements>
    <a:clrScheme name="">
      <a:dk1>
        <a:srgbClr val="1D4C7C"/>
      </a:dk1>
      <a:lt1>
        <a:srgbClr val="FFFFFF"/>
      </a:lt1>
      <a:dk2>
        <a:srgbClr val="363535"/>
      </a:dk2>
      <a:lt2>
        <a:srgbClr val="3397D3"/>
      </a:lt2>
      <a:accent1>
        <a:srgbClr val="3397D3"/>
      </a:accent1>
      <a:accent2>
        <a:srgbClr val="8E499C"/>
      </a:accent2>
      <a:accent3>
        <a:srgbClr val="AEAEAE"/>
      </a:accent3>
      <a:accent4>
        <a:srgbClr val="DADADA"/>
      </a:accent4>
      <a:accent5>
        <a:srgbClr val="ADC9E6"/>
      </a:accent5>
      <a:accent6>
        <a:srgbClr val="80418D"/>
      </a:accent6>
      <a:hlink>
        <a:srgbClr val="FFFFFF"/>
      </a:hlink>
      <a:folHlink>
        <a:srgbClr val="FFFFFF"/>
      </a:folHlink>
    </a:clrScheme>
    <a:fontScheme name="3_TechEd_2012_Template_16x9">
      <a:majorFont>
        <a:latin typeface="Segoe UI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S1444_Windows Azure Template 16x9_r08a">
  <a:themeElements>
    <a:clrScheme name="">
      <a:dk1>
        <a:srgbClr val="292929"/>
      </a:dk1>
      <a:lt1>
        <a:srgbClr val="FFFFFF"/>
      </a:lt1>
      <a:dk2>
        <a:srgbClr val="5F5F5F"/>
      </a:dk2>
      <a:lt2>
        <a:srgbClr val="DDDDDD"/>
      </a:lt2>
      <a:accent1>
        <a:srgbClr val="FF8A00"/>
      </a:accent1>
      <a:accent2>
        <a:srgbClr val="00AEEF"/>
      </a:accent2>
      <a:accent3>
        <a:srgbClr val="FFFFFF"/>
      </a:accent3>
      <a:accent4>
        <a:srgbClr val="212121"/>
      </a:accent4>
      <a:accent5>
        <a:srgbClr val="FFC4AA"/>
      </a:accent5>
      <a:accent6>
        <a:srgbClr val="009DD9"/>
      </a:accent6>
      <a:hlink>
        <a:srgbClr val="0071BC"/>
      </a:hlink>
      <a:folHlink>
        <a:srgbClr val="00AEEF"/>
      </a:folHlink>
    </a:clrScheme>
    <a:fontScheme name="MS1444_Windows Azure Template 16x9_r08a">
      <a:majorFont>
        <a:latin typeface="Segoe UI Light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MS1444_Windows Azure Template 16x9_r08a">
  <a:themeElements>
    <a:clrScheme name="">
      <a:dk1>
        <a:srgbClr val="292929"/>
      </a:dk1>
      <a:lt1>
        <a:srgbClr val="FFFFFF"/>
      </a:lt1>
      <a:dk2>
        <a:srgbClr val="5F5F5F"/>
      </a:dk2>
      <a:lt2>
        <a:srgbClr val="DDDDDD"/>
      </a:lt2>
      <a:accent1>
        <a:srgbClr val="FF8A00"/>
      </a:accent1>
      <a:accent2>
        <a:srgbClr val="00AEEF"/>
      </a:accent2>
      <a:accent3>
        <a:srgbClr val="FFFFFF"/>
      </a:accent3>
      <a:accent4>
        <a:srgbClr val="212121"/>
      </a:accent4>
      <a:accent5>
        <a:srgbClr val="FFC4AA"/>
      </a:accent5>
      <a:accent6>
        <a:srgbClr val="009DD9"/>
      </a:accent6>
      <a:hlink>
        <a:srgbClr val="0071BC"/>
      </a:hlink>
      <a:folHlink>
        <a:srgbClr val="00AEEF"/>
      </a:folHlink>
    </a:clrScheme>
    <a:fontScheme name="1_MS1444_Windows Azure Template 16x9_r08a">
      <a:majorFont>
        <a:latin typeface="Segoe UI Light"/>
        <a:ea typeface=""/>
        <a:cs typeface="Segoe UI"/>
      </a:majorFont>
      <a:minorFont>
        <a:latin typeface="Segoe UI"/>
        <a:ea typeface="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6858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5</Words>
  <Application>Microsoft Office PowerPoint</Application>
  <PresentationFormat>全屏显示(16:9)</PresentationFormat>
  <Paragraphs>106</Paragraphs>
  <Slides>14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4</vt:i4>
      </vt:variant>
    </vt:vector>
  </HeadingPairs>
  <TitlesOfParts>
    <vt:vector size="38" baseType="lpstr">
      <vt:lpstr>Arial Unicode MS</vt:lpstr>
      <vt:lpstr>Segoe Semibold</vt:lpstr>
      <vt:lpstr>宋体</vt:lpstr>
      <vt:lpstr>Arial</vt:lpstr>
      <vt:lpstr>Arial Black</vt:lpstr>
      <vt:lpstr>Cambria Math</vt:lpstr>
      <vt:lpstr>Consolas</vt:lpstr>
      <vt:lpstr>Segoe UI</vt:lpstr>
      <vt:lpstr>Segoe UI Light</vt:lpstr>
      <vt:lpstr>Times New Roman</vt:lpstr>
      <vt:lpstr>Wingdings</vt:lpstr>
      <vt:lpstr>TechEd_2012_Template_16x9</vt:lpstr>
      <vt:lpstr>White with Consolas font for code slides</vt:lpstr>
      <vt:lpstr>1_TechEd_2012_Template_16x9</vt:lpstr>
      <vt:lpstr>2_TechEd_2012_Template_16x9</vt:lpstr>
      <vt:lpstr>TechEd_WindowsAzure_Template_16x9</vt:lpstr>
      <vt:lpstr>1_TechEd_WindowsAzure_Template_16x9</vt:lpstr>
      <vt:lpstr>3_TechEd_2012_Template_16x9</vt:lpstr>
      <vt:lpstr>MS1444_Windows Azure Template 16x9_r08a</vt:lpstr>
      <vt:lpstr>1_MS1444_Windows Azure Template 16x9_r08a</vt:lpstr>
      <vt:lpstr>4_TechEd_2012_Template_16x9</vt:lpstr>
      <vt:lpstr>5_TechEd_2012_Template_16x9</vt:lpstr>
      <vt:lpstr>think-cell Slide</vt:lpstr>
      <vt:lpstr>Equation</vt:lpstr>
      <vt:lpstr>近期工作汇报</vt:lpstr>
      <vt:lpstr>目录</vt:lpstr>
      <vt:lpstr>研究背景及意义</vt:lpstr>
      <vt:lpstr>PowerPoint 演示文稿</vt:lpstr>
      <vt:lpstr>PowerPoint 演示文稿</vt:lpstr>
      <vt:lpstr>PowerPoint 演示文稿</vt:lpstr>
      <vt:lpstr>PowerPoint 演示文稿</vt:lpstr>
      <vt:lpstr>完成的主要工作</vt:lpstr>
      <vt:lpstr>完成的主要工作(KNMFNet)</vt:lpstr>
      <vt:lpstr>完成的主要工作</vt:lpstr>
      <vt:lpstr>完成的主要工作</vt:lpstr>
      <vt:lpstr>完成的主要工作</vt:lpstr>
      <vt:lpstr>研究结论与展望</vt:lpstr>
      <vt:lpstr>PowerPoint 演示文稿</vt:lpstr>
    </vt:vector>
  </TitlesOfParts>
  <Manager>&lt;Content Manager Name Here&gt;</Manager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brid Computing is the New Net Norm</dc:title>
  <dc:subject>TechEd 2012</dc:subject>
  <dc:creator>Cyndi</dc:creator>
  <cp:keywords>TechEd 2012</cp:keywords>
  <dc:description>Template: Jordan Cayabyab, Artitudes Design_x000d_
Formatting:_x000d_
Event Date: June 11-14, 2012_x000d_
Event Location: Orlando, FL_x000d_
Audience Type: IT Pros, Developers</dc:description>
  <cp:lastModifiedBy>FuSichao</cp:lastModifiedBy>
  <cp:revision>2017</cp:revision>
  <dcterms:created xsi:type="dcterms:W3CDTF">2012-03-22T18:48:00Z</dcterms:created>
  <dcterms:modified xsi:type="dcterms:W3CDTF">2019-01-17T08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8FC3ECA26D1C46B3C4C83281D2EB9C003BBE479AF4108146A616B6B5E7069DBC</vt:lpwstr>
  </property>
  <property fmtid="{D5CDD505-2E9C-101B-9397-08002B2CF9AE}" pid="3" name="Event Venue">
    <vt:lpwstr>232;#Orange County Convention Center Orlando, FL|bd993e89-aa48-4695-84e0-3b53e88b1a79</vt:lpwstr>
  </property>
  <property fmtid="{D5CDD505-2E9C-101B-9397-08002B2CF9AE}" pid="4" name="Event Location">
    <vt:lpwstr>231;#Orlando|99ded043-d247-43a1-9b7a-028ecd66d1eb</vt:lpwstr>
  </property>
  <property fmtid="{D5CDD505-2E9C-101B-9397-08002B2CF9AE}" pid="5" name="Event1">
    <vt:lpwstr>126;#TechEd|ac8fad57-eb30-43a8-b5bd-05dcf2cf2246</vt:lpwstr>
  </property>
  <property fmtid="{D5CDD505-2E9C-101B-9397-08002B2CF9AE}" pid="6" name="KSOProductBuildVer">
    <vt:lpwstr>2052-11.1.0.8214</vt:lpwstr>
  </property>
  <property fmtid="{D5CDD505-2E9C-101B-9397-08002B2CF9AE}" pid="7" name="KSORubyTemplateID">
    <vt:lpwstr>2</vt:lpwstr>
  </property>
</Properties>
</file>